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8.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9.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770" r:id="rId5"/>
    <p:sldMasterId id="2147484808" r:id="rId6"/>
    <p:sldMasterId id="2147484825" r:id="rId7"/>
    <p:sldMasterId id="2147484867" r:id="rId8"/>
    <p:sldMasterId id="2147484912" r:id="rId9"/>
    <p:sldMasterId id="2147484930" r:id="rId10"/>
    <p:sldMasterId id="2147484942" r:id="rId11"/>
    <p:sldMasterId id="2147484959" r:id="rId12"/>
    <p:sldMasterId id="2147484978" r:id="rId13"/>
    <p:sldMasterId id="2147484991" r:id="rId14"/>
  </p:sldMasterIdLst>
  <p:notesMasterIdLst>
    <p:notesMasterId r:id="rId32"/>
  </p:notesMasterIdLst>
  <p:handoutMasterIdLst>
    <p:handoutMasterId r:id="rId33"/>
  </p:handoutMasterIdLst>
  <p:sldIdLst>
    <p:sldId id="1719" r:id="rId15"/>
    <p:sldId id="745" r:id="rId16"/>
    <p:sldId id="746" r:id="rId17"/>
    <p:sldId id="719" r:id="rId18"/>
    <p:sldId id="760" r:id="rId19"/>
    <p:sldId id="749" r:id="rId20"/>
    <p:sldId id="750" r:id="rId21"/>
    <p:sldId id="754" r:id="rId22"/>
    <p:sldId id="265" r:id="rId23"/>
    <p:sldId id="761" r:id="rId24"/>
    <p:sldId id="1720" r:id="rId25"/>
    <p:sldId id="772" r:id="rId26"/>
    <p:sldId id="766" r:id="rId27"/>
    <p:sldId id="767" r:id="rId28"/>
    <p:sldId id="1722" r:id="rId29"/>
    <p:sldId id="895" r:id="rId30"/>
    <p:sldId id="2482" r:id="rId31"/>
  </p:sldIdLst>
  <p:sldSz cx="12192000" cy="6858000"/>
  <p:notesSz cx="6858000" cy="1628775"/>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CELA Style Guide" id="{8616D459-25C9-41BE-A675-B213035DE140}">
          <p14:sldIdLst>
            <p14:sldId id="1719"/>
            <p14:sldId id="745"/>
            <p14:sldId id="746"/>
            <p14:sldId id="719"/>
            <p14:sldId id="760"/>
            <p14:sldId id="749"/>
            <p14:sldId id="750"/>
            <p14:sldId id="754"/>
            <p14:sldId id="265"/>
            <p14:sldId id="761"/>
            <p14:sldId id="1720"/>
            <p14:sldId id="772"/>
            <p14:sldId id="766"/>
            <p14:sldId id="767"/>
            <p14:sldId id="1722"/>
            <p14:sldId id="895"/>
            <p14:sldId id="2482"/>
          </p14:sldIdLst>
        </p14:section>
        <p14:section name="Photo options" id="{C1B33B70-199E-487D-B123-2E809D346AC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Mitchell Derrey" initials="MD" lastIdx="9" clrIdx="5">
    <p:extLst>
      <p:ext uri="{19B8F6BF-5375-455C-9EA6-DF929625EA0E}">
        <p15:presenceInfo xmlns:p15="http://schemas.microsoft.com/office/powerpoint/2012/main" userId="S::mitchell@silverfoxprod.com::ba2ee660-27ce-40d7-8b8d-1c0a464223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0078D4"/>
    <a:srgbClr val="50E6FF"/>
    <a:srgbClr val="30E5D0"/>
    <a:srgbClr val="A92E01"/>
    <a:srgbClr val="C13501"/>
    <a:srgbClr val="FF9349"/>
    <a:srgbClr val="E6E6E6"/>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80FF1E-795F-4944-9D87-F65F1B6AC503}" v="7" dt="2019-07-01T08:33:25.7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46" autoAdjust="0"/>
    <p:restoredTop sz="92147" autoAdjust="0"/>
  </p:normalViewPr>
  <p:slideViewPr>
    <p:cSldViewPr snapToGrid="0">
      <p:cViewPr>
        <p:scale>
          <a:sx n="58" d="100"/>
          <a:sy n="58" d="100"/>
        </p:scale>
        <p:origin x="1052" y="56"/>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113" d="100"/>
          <a:sy n="113" d="100"/>
        </p:scale>
        <p:origin x="531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ya Madyibi (CELA)" userId="2786e4fc-7ade-47d8-bf9d-e5b19235df04" providerId="ADAL" clId="{0C408555-2B92-4A5A-A226-5314A9C32F43}"/>
    <pc:docChg chg="undo custSel addSld delSld modSld delMainMaster modSection">
      <pc:chgData name="Siya Madyibi (CELA)" userId="2786e4fc-7ade-47d8-bf9d-e5b19235df04" providerId="ADAL" clId="{0C408555-2B92-4A5A-A226-5314A9C32F43}" dt="2019-07-03T21:21:31.858" v="123" actId="47"/>
      <pc:docMkLst>
        <pc:docMk/>
      </pc:docMkLst>
      <pc:sldChg chg="del">
        <pc:chgData name="Siya Madyibi (CELA)" userId="2786e4fc-7ade-47d8-bf9d-e5b19235df04" providerId="ADAL" clId="{0C408555-2B92-4A5A-A226-5314A9C32F43}" dt="2019-07-01T08:29:23.458" v="28" actId="47"/>
        <pc:sldMkLst>
          <pc:docMk/>
          <pc:sldMk cId="2807029868" sldId="274"/>
        </pc:sldMkLst>
      </pc:sldChg>
      <pc:sldChg chg="del">
        <pc:chgData name="Siya Madyibi (CELA)" userId="2786e4fc-7ade-47d8-bf9d-e5b19235df04" providerId="ADAL" clId="{0C408555-2B92-4A5A-A226-5314A9C32F43}" dt="2019-07-01T08:29:21.787" v="27" actId="47"/>
        <pc:sldMkLst>
          <pc:docMk/>
          <pc:sldMk cId="1059183129" sldId="280"/>
        </pc:sldMkLst>
      </pc:sldChg>
      <pc:sldChg chg="del">
        <pc:chgData name="Siya Madyibi (CELA)" userId="2786e4fc-7ade-47d8-bf9d-e5b19235df04" providerId="ADAL" clId="{0C408555-2B92-4A5A-A226-5314A9C32F43}" dt="2019-07-01T08:29:24.904" v="30" actId="47"/>
        <pc:sldMkLst>
          <pc:docMk/>
          <pc:sldMk cId="623455507" sldId="304"/>
        </pc:sldMkLst>
      </pc:sldChg>
      <pc:sldChg chg="del">
        <pc:chgData name="Siya Madyibi (CELA)" userId="2786e4fc-7ade-47d8-bf9d-e5b19235df04" providerId="ADAL" clId="{0C408555-2B92-4A5A-A226-5314A9C32F43}" dt="2019-07-01T08:28:46.300" v="10" actId="47"/>
        <pc:sldMkLst>
          <pc:docMk/>
          <pc:sldMk cId="818879500" sldId="657"/>
        </pc:sldMkLst>
      </pc:sldChg>
      <pc:sldChg chg="modSp del">
        <pc:chgData name="Siya Madyibi (CELA)" userId="2786e4fc-7ade-47d8-bf9d-e5b19235df04" providerId="ADAL" clId="{0C408555-2B92-4A5A-A226-5314A9C32F43}" dt="2019-07-03T21:20:40.500" v="122" actId="47"/>
        <pc:sldMkLst>
          <pc:docMk/>
          <pc:sldMk cId="2728299835" sldId="752"/>
        </pc:sldMkLst>
        <pc:spChg chg="mod">
          <ac:chgData name="Siya Madyibi (CELA)" userId="2786e4fc-7ade-47d8-bf9d-e5b19235df04" providerId="ADAL" clId="{0C408555-2B92-4A5A-A226-5314A9C32F43}" dt="2019-07-01T08:27:08.040" v="6" actId="6549"/>
          <ac:spMkLst>
            <pc:docMk/>
            <pc:sldMk cId="2728299835" sldId="752"/>
            <ac:spMk id="7" creationId="{00000000-0000-0000-0000-000000000000}"/>
          </ac:spMkLst>
        </pc:spChg>
      </pc:sldChg>
      <pc:sldChg chg="modSp">
        <pc:chgData name="Siya Madyibi (CELA)" userId="2786e4fc-7ade-47d8-bf9d-e5b19235df04" providerId="ADAL" clId="{0C408555-2B92-4A5A-A226-5314A9C32F43}" dt="2019-07-02T10:05:32.646" v="121" actId="20577"/>
        <pc:sldMkLst>
          <pc:docMk/>
          <pc:sldMk cId="1962835189" sldId="754"/>
        </pc:sldMkLst>
        <pc:spChg chg="mod">
          <ac:chgData name="Siya Madyibi (CELA)" userId="2786e4fc-7ade-47d8-bf9d-e5b19235df04" providerId="ADAL" clId="{0C408555-2B92-4A5A-A226-5314A9C32F43}" dt="2019-07-02T10:05:32.646" v="121" actId="20577"/>
          <ac:spMkLst>
            <pc:docMk/>
            <pc:sldMk cId="1962835189" sldId="754"/>
            <ac:spMk id="4" creationId="{00000000-0000-0000-0000-000000000000}"/>
          </ac:spMkLst>
        </pc:spChg>
      </pc:sldChg>
      <pc:sldChg chg="modSp">
        <pc:chgData name="Siya Madyibi (CELA)" userId="2786e4fc-7ade-47d8-bf9d-e5b19235df04" providerId="ADAL" clId="{0C408555-2B92-4A5A-A226-5314A9C32F43}" dt="2019-07-01T08:47:13.875" v="38" actId="6549"/>
        <pc:sldMkLst>
          <pc:docMk/>
          <pc:sldMk cId="3744018269" sldId="761"/>
        </pc:sldMkLst>
        <pc:spChg chg="mod">
          <ac:chgData name="Siya Madyibi (CELA)" userId="2786e4fc-7ade-47d8-bf9d-e5b19235df04" providerId="ADAL" clId="{0C408555-2B92-4A5A-A226-5314A9C32F43}" dt="2019-07-01T08:46:51.910" v="36" actId="20577"/>
          <ac:spMkLst>
            <pc:docMk/>
            <pc:sldMk cId="3744018269" sldId="761"/>
            <ac:spMk id="9" creationId="{00000000-0000-0000-0000-000000000000}"/>
          </ac:spMkLst>
        </pc:spChg>
        <pc:spChg chg="mod">
          <ac:chgData name="Siya Madyibi (CELA)" userId="2786e4fc-7ade-47d8-bf9d-e5b19235df04" providerId="ADAL" clId="{0C408555-2B92-4A5A-A226-5314A9C32F43}" dt="2019-07-01T08:47:13.875" v="38" actId="6549"/>
          <ac:spMkLst>
            <pc:docMk/>
            <pc:sldMk cId="3744018269" sldId="761"/>
            <ac:spMk id="21" creationId="{00000000-0000-0000-0000-000000000000}"/>
          </ac:spMkLst>
        </pc:spChg>
      </pc:sldChg>
      <pc:sldChg chg="del">
        <pc:chgData name="Siya Madyibi (CELA)" userId="2786e4fc-7ade-47d8-bf9d-e5b19235df04" providerId="ADAL" clId="{0C408555-2B92-4A5A-A226-5314A9C32F43}" dt="2019-07-01T08:28:25.183" v="7" actId="2696"/>
        <pc:sldMkLst>
          <pc:docMk/>
          <pc:sldMk cId="3484341266" sldId="774"/>
        </pc:sldMkLst>
      </pc:sldChg>
      <pc:sldChg chg="add del">
        <pc:chgData name="Siya Madyibi (CELA)" userId="2786e4fc-7ade-47d8-bf9d-e5b19235df04" providerId="ADAL" clId="{0C408555-2B92-4A5A-A226-5314A9C32F43}" dt="2019-07-03T21:21:31.858" v="123" actId="47"/>
        <pc:sldMkLst>
          <pc:docMk/>
          <pc:sldMk cId="3918900368" sldId="774"/>
        </pc:sldMkLst>
      </pc:sldChg>
      <pc:sldChg chg="del">
        <pc:chgData name="Siya Madyibi (CELA)" userId="2786e4fc-7ade-47d8-bf9d-e5b19235df04" providerId="ADAL" clId="{0C408555-2B92-4A5A-A226-5314A9C32F43}" dt="2019-07-01T08:28:25.183" v="7" actId="2696"/>
        <pc:sldMkLst>
          <pc:docMk/>
          <pc:sldMk cId="3272923027" sldId="895"/>
        </pc:sldMkLst>
      </pc:sldChg>
      <pc:sldChg chg="del">
        <pc:chgData name="Siya Madyibi (CELA)" userId="2786e4fc-7ade-47d8-bf9d-e5b19235df04" providerId="ADAL" clId="{0C408555-2B92-4A5A-A226-5314A9C32F43}" dt="2019-07-01T08:28:55.668" v="16" actId="47"/>
        <pc:sldMkLst>
          <pc:docMk/>
          <pc:sldMk cId="2230518834" sldId="1649"/>
        </pc:sldMkLst>
      </pc:sldChg>
      <pc:sldChg chg="modSp">
        <pc:chgData name="Siya Madyibi (CELA)" userId="2786e4fc-7ade-47d8-bf9d-e5b19235df04" providerId="ADAL" clId="{0C408555-2B92-4A5A-A226-5314A9C32F43}" dt="2019-07-02T09:58:44.867" v="115" actId="6549"/>
        <pc:sldMkLst>
          <pc:docMk/>
          <pc:sldMk cId="3635852913" sldId="1719"/>
        </pc:sldMkLst>
        <pc:spChg chg="mod">
          <ac:chgData name="Siya Madyibi (CELA)" userId="2786e4fc-7ade-47d8-bf9d-e5b19235df04" providerId="ADAL" clId="{0C408555-2B92-4A5A-A226-5314A9C32F43}" dt="2019-07-02T09:58:44.867" v="115" actId="6549"/>
          <ac:spMkLst>
            <pc:docMk/>
            <pc:sldMk cId="3635852913" sldId="1719"/>
            <ac:spMk id="4" creationId="{00000000-0000-0000-0000-000000000000}"/>
          </ac:spMkLst>
        </pc:spChg>
        <pc:spChg chg="mod">
          <ac:chgData name="Siya Madyibi (CELA)" userId="2786e4fc-7ade-47d8-bf9d-e5b19235df04" providerId="ADAL" clId="{0C408555-2B92-4A5A-A226-5314A9C32F43}" dt="2019-07-02T09:39:11.332" v="72" actId="6549"/>
          <ac:spMkLst>
            <pc:docMk/>
            <pc:sldMk cId="3635852913" sldId="1719"/>
            <ac:spMk id="5" creationId="{00000000-0000-0000-0000-000000000000}"/>
          </ac:spMkLst>
        </pc:spChg>
      </pc:sldChg>
      <pc:sldChg chg="del">
        <pc:chgData name="Siya Madyibi (CELA)" userId="2786e4fc-7ade-47d8-bf9d-e5b19235df04" providerId="ADAL" clId="{0C408555-2B92-4A5A-A226-5314A9C32F43}" dt="2019-07-01T08:25:14.355" v="0" actId="2696"/>
        <pc:sldMkLst>
          <pc:docMk/>
          <pc:sldMk cId="1397284989" sldId="1720"/>
        </pc:sldMkLst>
      </pc:sldChg>
      <pc:sldChg chg="del">
        <pc:chgData name="Siya Madyibi (CELA)" userId="2786e4fc-7ade-47d8-bf9d-e5b19235df04" providerId="ADAL" clId="{0C408555-2B92-4A5A-A226-5314A9C32F43}" dt="2019-07-01T08:28:52.059" v="13" actId="47"/>
        <pc:sldMkLst>
          <pc:docMk/>
          <pc:sldMk cId="1599385545" sldId="1721"/>
        </pc:sldMkLst>
      </pc:sldChg>
      <pc:sldChg chg="del">
        <pc:chgData name="Siya Madyibi (CELA)" userId="2786e4fc-7ade-47d8-bf9d-e5b19235df04" providerId="ADAL" clId="{0C408555-2B92-4A5A-A226-5314A9C32F43}" dt="2019-07-01T08:29:19.508" v="24" actId="47"/>
        <pc:sldMkLst>
          <pc:docMk/>
          <pc:sldMk cId="106731516" sldId="1723"/>
        </pc:sldMkLst>
      </pc:sldChg>
      <pc:sldChg chg="del">
        <pc:chgData name="Siya Madyibi (CELA)" userId="2786e4fc-7ade-47d8-bf9d-e5b19235df04" providerId="ADAL" clId="{0C408555-2B92-4A5A-A226-5314A9C32F43}" dt="2019-07-01T08:28:56.997" v="18" actId="47"/>
        <pc:sldMkLst>
          <pc:docMk/>
          <pc:sldMk cId="789358199" sldId="1725"/>
        </pc:sldMkLst>
      </pc:sldChg>
      <pc:sldChg chg="del">
        <pc:chgData name="Siya Madyibi (CELA)" userId="2786e4fc-7ade-47d8-bf9d-e5b19235df04" providerId="ADAL" clId="{0C408555-2B92-4A5A-A226-5314A9C32F43}" dt="2019-07-01T08:28:56.312" v="17" actId="47"/>
        <pc:sldMkLst>
          <pc:docMk/>
          <pc:sldMk cId="3842292286" sldId="1742"/>
        </pc:sldMkLst>
      </pc:sldChg>
      <pc:sldChg chg="del">
        <pc:chgData name="Siya Madyibi (CELA)" userId="2786e4fc-7ade-47d8-bf9d-e5b19235df04" providerId="ADAL" clId="{0C408555-2B92-4A5A-A226-5314A9C32F43}" dt="2019-07-01T08:29:24.276" v="29" actId="47"/>
        <pc:sldMkLst>
          <pc:docMk/>
          <pc:sldMk cId="190516964" sldId="1754"/>
        </pc:sldMkLst>
      </pc:sldChg>
      <pc:sldChg chg="del">
        <pc:chgData name="Siya Madyibi (CELA)" userId="2786e4fc-7ade-47d8-bf9d-e5b19235df04" providerId="ADAL" clId="{0C408555-2B92-4A5A-A226-5314A9C32F43}" dt="2019-07-01T08:28:54.468" v="15" actId="47"/>
        <pc:sldMkLst>
          <pc:docMk/>
          <pc:sldMk cId="2251521902" sldId="1757"/>
        </pc:sldMkLst>
      </pc:sldChg>
      <pc:sldChg chg="del">
        <pc:chgData name="Siya Madyibi (CELA)" userId="2786e4fc-7ade-47d8-bf9d-e5b19235df04" providerId="ADAL" clId="{0C408555-2B92-4A5A-A226-5314A9C32F43}" dt="2019-07-01T08:28:45.287" v="9" actId="47"/>
        <pc:sldMkLst>
          <pc:docMk/>
          <pc:sldMk cId="885361389" sldId="2800"/>
        </pc:sldMkLst>
      </pc:sldChg>
      <pc:sldChg chg="del">
        <pc:chgData name="Siya Madyibi (CELA)" userId="2786e4fc-7ade-47d8-bf9d-e5b19235df04" providerId="ADAL" clId="{0C408555-2B92-4A5A-A226-5314A9C32F43}" dt="2019-07-01T08:28:50.768" v="12" actId="47"/>
        <pc:sldMkLst>
          <pc:docMk/>
          <pc:sldMk cId="1089076767" sldId="3398"/>
        </pc:sldMkLst>
      </pc:sldChg>
      <pc:sldChg chg="del">
        <pc:chgData name="Siya Madyibi (CELA)" userId="2786e4fc-7ade-47d8-bf9d-e5b19235df04" providerId="ADAL" clId="{0C408555-2B92-4A5A-A226-5314A9C32F43}" dt="2019-07-01T08:29:21.028" v="26" actId="47"/>
        <pc:sldMkLst>
          <pc:docMk/>
          <pc:sldMk cId="2861737765" sldId="3399"/>
        </pc:sldMkLst>
      </pc:sldChg>
      <pc:sldChg chg="del">
        <pc:chgData name="Siya Madyibi (CELA)" userId="2786e4fc-7ade-47d8-bf9d-e5b19235df04" providerId="ADAL" clId="{0C408555-2B92-4A5A-A226-5314A9C32F43}" dt="2019-07-01T08:28:53.478" v="14" actId="47"/>
        <pc:sldMkLst>
          <pc:docMk/>
          <pc:sldMk cId="1226709761" sldId="3400"/>
        </pc:sldMkLst>
      </pc:sldChg>
      <pc:sldChg chg="del">
        <pc:chgData name="Siya Madyibi (CELA)" userId="2786e4fc-7ade-47d8-bf9d-e5b19235df04" providerId="ADAL" clId="{0C408555-2B92-4A5A-A226-5314A9C32F43}" dt="2019-07-01T08:29:08.774" v="20" actId="47"/>
        <pc:sldMkLst>
          <pc:docMk/>
          <pc:sldMk cId="351848537" sldId="9637"/>
        </pc:sldMkLst>
      </pc:sldChg>
      <pc:sldChg chg="del">
        <pc:chgData name="Siya Madyibi (CELA)" userId="2786e4fc-7ade-47d8-bf9d-e5b19235df04" providerId="ADAL" clId="{0C408555-2B92-4A5A-A226-5314A9C32F43}" dt="2019-07-01T08:29:09.731" v="21" actId="47"/>
        <pc:sldMkLst>
          <pc:docMk/>
          <pc:sldMk cId="210304623" sldId="9638"/>
        </pc:sldMkLst>
      </pc:sldChg>
      <pc:sldChg chg="del">
        <pc:chgData name="Siya Madyibi (CELA)" userId="2786e4fc-7ade-47d8-bf9d-e5b19235df04" providerId="ADAL" clId="{0C408555-2B92-4A5A-A226-5314A9C32F43}" dt="2019-07-01T08:29:10.758" v="22" actId="47"/>
        <pc:sldMkLst>
          <pc:docMk/>
          <pc:sldMk cId="1656585136" sldId="9639"/>
        </pc:sldMkLst>
      </pc:sldChg>
      <pc:sldChg chg="del">
        <pc:chgData name="Siya Madyibi (CELA)" userId="2786e4fc-7ade-47d8-bf9d-e5b19235df04" providerId="ADAL" clId="{0C408555-2B92-4A5A-A226-5314A9C32F43}" dt="2019-07-01T08:29:18.869" v="23" actId="47"/>
        <pc:sldMkLst>
          <pc:docMk/>
          <pc:sldMk cId="1633701857" sldId="9640"/>
        </pc:sldMkLst>
      </pc:sldChg>
      <pc:sldChg chg="del">
        <pc:chgData name="Siya Madyibi (CELA)" userId="2786e4fc-7ade-47d8-bf9d-e5b19235df04" providerId="ADAL" clId="{0C408555-2B92-4A5A-A226-5314A9C32F43}" dt="2019-07-01T08:29:06.109" v="19" actId="47"/>
        <pc:sldMkLst>
          <pc:docMk/>
          <pc:sldMk cId="3838698989" sldId="9641"/>
        </pc:sldMkLst>
      </pc:sldChg>
      <pc:sldChg chg="del">
        <pc:chgData name="Siya Madyibi (CELA)" userId="2786e4fc-7ade-47d8-bf9d-e5b19235df04" providerId="ADAL" clId="{0C408555-2B92-4A5A-A226-5314A9C32F43}" dt="2019-07-01T08:29:20.107" v="25" actId="47"/>
        <pc:sldMkLst>
          <pc:docMk/>
          <pc:sldMk cId="2495161601" sldId="9642"/>
        </pc:sldMkLst>
      </pc:sldChg>
      <pc:sldChg chg="del">
        <pc:chgData name="Siya Madyibi (CELA)" userId="2786e4fc-7ade-47d8-bf9d-e5b19235df04" providerId="ADAL" clId="{0C408555-2B92-4A5A-A226-5314A9C32F43}" dt="2019-07-01T08:28:44.038" v="8" actId="47"/>
        <pc:sldMkLst>
          <pc:docMk/>
          <pc:sldMk cId="2824741630" sldId="9646"/>
        </pc:sldMkLst>
      </pc:sldChg>
      <pc:sldChg chg="del">
        <pc:chgData name="Siya Madyibi (CELA)" userId="2786e4fc-7ade-47d8-bf9d-e5b19235df04" providerId="ADAL" clId="{0C408555-2B92-4A5A-A226-5314A9C32F43}" dt="2019-07-01T08:28:49.571" v="11" actId="47"/>
        <pc:sldMkLst>
          <pc:docMk/>
          <pc:sldMk cId="2077447170" sldId="9647"/>
        </pc:sldMkLst>
      </pc:sldChg>
      <pc:sldMasterChg chg="delSldLayout">
        <pc:chgData name="Siya Madyibi (CELA)" userId="2786e4fc-7ade-47d8-bf9d-e5b19235df04" providerId="ADAL" clId="{0C408555-2B92-4A5A-A226-5314A9C32F43}" dt="2019-07-01T08:29:21.787" v="27" actId="47"/>
        <pc:sldMasterMkLst>
          <pc:docMk/>
          <pc:sldMasterMk cId="3588427678" sldId="2147484229"/>
        </pc:sldMasterMkLst>
        <pc:sldLayoutChg chg="del">
          <pc:chgData name="Siya Madyibi (CELA)" userId="2786e4fc-7ade-47d8-bf9d-e5b19235df04" providerId="ADAL" clId="{0C408555-2B92-4A5A-A226-5314A9C32F43}" dt="2019-07-01T08:29:21.787" v="27" actId="47"/>
          <pc:sldLayoutMkLst>
            <pc:docMk/>
            <pc:sldMasterMk cId="3588427678" sldId="2147484229"/>
            <pc:sldLayoutMk cId="713642851" sldId="2147484768"/>
          </pc:sldLayoutMkLst>
        </pc:sldLayoutChg>
        <pc:sldLayoutChg chg="del">
          <pc:chgData name="Siya Madyibi (CELA)" userId="2786e4fc-7ade-47d8-bf9d-e5b19235df04" providerId="ADAL" clId="{0C408555-2B92-4A5A-A226-5314A9C32F43}" dt="2019-07-01T08:28:50.768" v="12" actId="47"/>
          <pc:sldLayoutMkLst>
            <pc:docMk/>
            <pc:sldMasterMk cId="3588427678" sldId="2147484229"/>
            <pc:sldLayoutMk cId="2588850087" sldId="2147484769"/>
          </pc:sldLayoutMkLst>
        </pc:sldLayoutChg>
      </pc:sldMasterChg>
      <pc:sldMasterChg chg="del delSldLayout">
        <pc:chgData name="Siya Madyibi (CELA)" userId="2786e4fc-7ade-47d8-bf9d-e5b19235df04" providerId="ADAL" clId="{0C408555-2B92-4A5A-A226-5314A9C32F43}" dt="2019-07-01T08:28:25.183" v="7" actId="2696"/>
        <pc:sldMasterMkLst>
          <pc:docMk/>
          <pc:sldMasterMk cId="4086105606" sldId="2147484789"/>
        </pc:sldMasterMkLst>
        <pc:sldLayoutChg chg="del">
          <pc:chgData name="Siya Madyibi (CELA)" userId="2786e4fc-7ade-47d8-bf9d-e5b19235df04" providerId="ADAL" clId="{0C408555-2B92-4A5A-A226-5314A9C32F43}" dt="2019-07-01T08:28:25.183" v="7" actId="2696"/>
          <pc:sldLayoutMkLst>
            <pc:docMk/>
            <pc:sldMasterMk cId="4086105606" sldId="2147484789"/>
            <pc:sldLayoutMk cId="1846285631" sldId="2147484790"/>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761080767" sldId="2147484791"/>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3804082420" sldId="2147484792"/>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3306363252" sldId="2147484793"/>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1311691893" sldId="2147484794"/>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1733007672" sldId="2147484795"/>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4096507379" sldId="2147484796"/>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1103095179" sldId="2147484797"/>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3796292016" sldId="2147484798"/>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3228414840" sldId="2147484799"/>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4061688041" sldId="2147484800"/>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1743642864" sldId="2147484801"/>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2255469281" sldId="2147484802"/>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1337544962" sldId="2147484803"/>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3024233638" sldId="2147484804"/>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4061554143" sldId="2147484805"/>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2753706539" sldId="2147484806"/>
          </pc:sldLayoutMkLst>
        </pc:sldLayoutChg>
        <pc:sldLayoutChg chg="del">
          <pc:chgData name="Siya Madyibi (CELA)" userId="2786e4fc-7ade-47d8-bf9d-e5b19235df04" providerId="ADAL" clId="{0C408555-2B92-4A5A-A226-5314A9C32F43}" dt="2019-07-01T08:28:25.183" v="7" actId="2696"/>
          <pc:sldLayoutMkLst>
            <pc:docMk/>
            <pc:sldMasterMk cId="4086105606" sldId="2147484789"/>
            <pc:sldLayoutMk cId="2843985782" sldId="214748480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7/1/2019 9:5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7/1/2019 9:4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mckinsey.com/insights/business_technology/risk_and_responsibility_in_a_hyperconnected_world_implications_for_enterprises"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breachlevelindex.com/pdf/Breach-Level-Index-Annual-Report-2014.pdf"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619146B-24F9-441E-A368-DB3B5A84C1D4}" type="datetime8">
              <a:rPr lang="en-US" smtClean="0"/>
              <a:t>7/1/2019 9:4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080395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dirty="0">
                <a:solidFill>
                  <a:schemeClr val="tx1"/>
                </a:solidFill>
                <a:effectLst/>
                <a:latin typeface="Arial"/>
                <a:ea typeface="+mn-ea"/>
                <a:cs typeface="Arial" charset="0"/>
                <a:sym typeface="Arial"/>
              </a:rPr>
              <a:t>However, the new opportunities cloud technology makes possible also introduce new challenges. We see that many organizations are increasingly weighing the benefit of new opportunities against their corresponding security risks. As global attacks increase and costs rise, security concerns threaten to stall innovation and stifle business growth. </a:t>
            </a:r>
          </a:p>
          <a:p>
            <a:r>
              <a:rPr lang="en-US" sz="1400" kern="1200" dirty="0">
                <a:solidFill>
                  <a:schemeClr val="tx1"/>
                </a:solidFill>
                <a:effectLst/>
                <a:latin typeface="Arial"/>
                <a:ea typeface="+mn-ea"/>
                <a:cs typeface="Arial" charset="0"/>
                <a:sym typeface="Arial"/>
              </a:rPr>
              <a:t> </a:t>
            </a:r>
          </a:p>
          <a:p>
            <a:r>
              <a:rPr lang="en-US" sz="1400" kern="1200" dirty="0">
                <a:solidFill>
                  <a:schemeClr val="tx1"/>
                </a:solidFill>
                <a:effectLst/>
                <a:latin typeface="Arial"/>
                <a:ea typeface="+mn-ea"/>
                <a:cs typeface="Arial" charset="0"/>
                <a:sym typeface="Arial"/>
              </a:rPr>
              <a:t>News of security breaches continues to dominate headlines, and the scale and scope of intrusions are growing.  In 2014 alone, data breaches were up by 78% over the previous year, and cyber criminals compromised more than a billion data records in more than 1500 breaches.  In a 2014 report for the World Economic Forum, McKinsey &amp; Company estimated the risk of cyberattacks “could materially slow the pace of technology and business innovation with as much as $3 trillion in aggregate impact.”  </a:t>
            </a:r>
          </a:p>
          <a:p>
            <a:r>
              <a:rPr lang="en-US" sz="1400" kern="1200" dirty="0">
                <a:solidFill>
                  <a:schemeClr val="tx1"/>
                </a:solidFill>
                <a:effectLst/>
                <a:latin typeface="Arial"/>
                <a:ea typeface="+mn-ea"/>
                <a:cs typeface="Arial" charset="0"/>
                <a:sym typeface="Arial"/>
              </a:rPr>
              <a:t>At the same time, public revelations about the nature and scope of government surveillance programs operated by the United States and other governments has many governments re-examining the appropriate balance between public safety and individual privacy, as citizens and companies have become increasingly concerned about privacy and control of their data in a post-Snowden world.</a:t>
            </a:r>
            <a:endParaRPr lang="en-US" sz="1400" dirty="0">
              <a:solidFill>
                <a:schemeClr val="tx1">
                  <a:lumMod val="50000"/>
                </a:schemeClr>
              </a:solidFill>
            </a:endParaRPr>
          </a:p>
          <a:p>
            <a:pPr algn="l">
              <a:lnSpc>
                <a:spcPct val="90000"/>
              </a:lnSpc>
              <a:spcAft>
                <a:spcPts val="600"/>
              </a:spcAft>
            </a:pPr>
            <a:endParaRPr lang="en-US" sz="1400" dirty="0">
              <a:solidFill>
                <a:schemeClr val="tx1">
                  <a:lumMod val="50000"/>
                </a:schemeClr>
              </a:solidFill>
            </a:endParaRPr>
          </a:p>
          <a:p>
            <a:pPr algn="l">
              <a:lnSpc>
                <a:spcPct val="90000"/>
              </a:lnSpc>
              <a:spcAft>
                <a:spcPts val="600"/>
              </a:spcAft>
            </a:pPr>
            <a:r>
              <a:rPr lang="en-US" sz="1400" dirty="0">
                <a:solidFill>
                  <a:schemeClr val="tx1">
                    <a:lumMod val="50000"/>
                  </a:schemeClr>
                </a:solidFill>
              </a:rPr>
              <a:t>Sources: </a:t>
            </a:r>
          </a:p>
          <a:p>
            <a:pPr marL="0" marR="0" indent="0" algn="l" defTabSz="914400" rtl="0" eaLnBrk="1" fontAlgn="base" latinLnBrk="0" hangingPunct="1">
              <a:lnSpc>
                <a:spcPct val="90000"/>
              </a:lnSpc>
              <a:spcBef>
                <a:spcPct val="30000"/>
              </a:spcBef>
              <a:spcAft>
                <a:spcPts val="600"/>
              </a:spcAft>
              <a:buClrTx/>
              <a:buSzTx/>
              <a:buFontTx/>
              <a:buNone/>
              <a:tabLst/>
              <a:defRPr/>
            </a:pPr>
            <a:r>
              <a:rPr lang="en-US" sz="1400" baseline="30000" dirty="0">
                <a:solidFill>
                  <a:schemeClr val="tx1">
                    <a:lumMod val="50000"/>
                  </a:schemeClr>
                </a:solidFill>
                <a:cs typeface="Segoe UI Light"/>
              </a:rPr>
              <a:t>1</a:t>
            </a:r>
            <a:r>
              <a:rPr lang="en-US" sz="1400" dirty="0">
                <a:solidFill>
                  <a:schemeClr val="tx1">
                    <a:lumMod val="50000"/>
                  </a:schemeClr>
                </a:solidFill>
              </a:rPr>
              <a:t> </a:t>
            </a:r>
            <a:r>
              <a:rPr lang="en-US" sz="1400" u="sng" kern="1200" dirty="0">
                <a:solidFill>
                  <a:schemeClr val="tx1"/>
                </a:solidFill>
                <a:effectLst/>
                <a:latin typeface="Arial"/>
                <a:ea typeface="+mn-ea"/>
                <a:cs typeface="Arial" charset="0"/>
                <a:sym typeface="Arial"/>
                <a:hlinkClick r:id="rId3"/>
              </a:rPr>
              <a:t>McKinsey &amp; Company</a:t>
            </a:r>
            <a:r>
              <a:rPr lang="en-US" sz="1400" kern="1200" dirty="0">
                <a:solidFill>
                  <a:schemeClr val="tx1"/>
                </a:solidFill>
                <a:effectLst/>
                <a:latin typeface="Arial"/>
                <a:ea typeface="+mn-ea"/>
                <a:cs typeface="Arial" charset="0"/>
                <a:sym typeface="Arial"/>
              </a:rPr>
              <a:t>, Report for World Economic Forum, Jan. 2014. http://www.mckinsey.com/insights/business_technology/risk_and_responsibility_in_a_hyperconnected_world_implications_for_enterprises</a:t>
            </a:r>
          </a:p>
          <a:p>
            <a:pPr marL="0" marR="0" indent="0" algn="l" defTabSz="914400" rtl="0" eaLnBrk="1" fontAlgn="base" latinLnBrk="0" hangingPunct="1">
              <a:lnSpc>
                <a:spcPct val="90000"/>
              </a:lnSpc>
              <a:spcBef>
                <a:spcPct val="30000"/>
              </a:spcBef>
              <a:spcAft>
                <a:spcPts val="600"/>
              </a:spcAft>
              <a:buClrTx/>
              <a:buSzTx/>
              <a:buFontTx/>
              <a:buNone/>
              <a:tabLst/>
              <a:defRPr/>
            </a:pPr>
            <a:r>
              <a:rPr lang="en-US" sz="1400" baseline="30000" dirty="0">
                <a:solidFill>
                  <a:schemeClr val="tx1">
                    <a:lumMod val="50000"/>
                  </a:schemeClr>
                </a:solidFill>
                <a:cs typeface="Segoe UI Light"/>
              </a:rPr>
              <a:t>2</a:t>
            </a:r>
            <a:r>
              <a:rPr lang="en-US" sz="1400" dirty="0">
                <a:solidFill>
                  <a:schemeClr val="tx1">
                    <a:lumMod val="50000"/>
                  </a:schemeClr>
                </a:solidFill>
              </a:rPr>
              <a:t> UK Dept. for Business, Innovation and Skills, “2014 Information Security Breaches Survey.” http://www.gov.uk/government/uploads/system/uploads/attachment_data/file/307296/bis-14-767-information-security-breaches-survey-2014-technical-report-revision1.pdf</a:t>
            </a:r>
          </a:p>
          <a:p>
            <a:pPr marL="0" marR="0" indent="0" algn="l" defTabSz="914400" rtl="0" eaLnBrk="1" fontAlgn="base" latinLnBrk="0" hangingPunct="1">
              <a:lnSpc>
                <a:spcPct val="90000"/>
              </a:lnSpc>
              <a:spcBef>
                <a:spcPct val="30000"/>
              </a:spcBef>
              <a:spcAft>
                <a:spcPts val="600"/>
              </a:spcAft>
              <a:buClrTx/>
              <a:buSzTx/>
              <a:buFontTx/>
              <a:buNone/>
              <a:tabLst/>
              <a:defRPr/>
            </a:pPr>
            <a:r>
              <a:rPr lang="en-US" sz="1400" baseline="30000" dirty="0">
                <a:solidFill>
                  <a:schemeClr val="tx1">
                    <a:lumMod val="50000"/>
                  </a:schemeClr>
                </a:solidFill>
                <a:cs typeface="Segoe UI Light"/>
              </a:rPr>
              <a:t>3 </a:t>
            </a:r>
            <a:r>
              <a:rPr lang="en-US" sz="1400" kern="1200" dirty="0" err="1">
                <a:solidFill>
                  <a:schemeClr val="tx1"/>
                </a:solidFill>
                <a:effectLst/>
                <a:latin typeface="Arial"/>
                <a:ea typeface="+mn-ea"/>
                <a:cs typeface="Arial" charset="0"/>
                <a:sym typeface="Arial"/>
              </a:rPr>
              <a:t>Gemalto</a:t>
            </a:r>
            <a:r>
              <a:rPr lang="en-US" sz="1400" kern="1200" dirty="0">
                <a:solidFill>
                  <a:schemeClr val="tx1"/>
                </a:solidFill>
                <a:effectLst/>
                <a:latin typeface="Arial"/>
                <a:ea typeface="+mn-ea"/>
                <a:cs typeface="Arial" charset="0"/>
                <a:sym typeface="Arial"/>
              </a:rPr>
              <a:t>, </a:t>
            </a:r>
            <a:r>
              <a:rPr lang="en-US" sz="1400" u="sng" kern="1200" dirty="0">
                <a:solidFill>
                  <a:schemeClr val="tx1"/>
                </a:solidFill>
                <a:effectLst/>
                <a:latin typeface="Arial"/>
                <a:ea typeface="+mn-ea"/>
                <a:cs typeface="Arial" charset="0"/>
                <a:sym typeface="Arial"/>
                <a:hlinkClick r:id="rId4"/>
              </a:rPr>
              <a:t>2014 Breach Level Index Report</a:t>
            </a:r>
            <a:r>
              <a:rPr lang="en-US" sz="1400" kern="1200" dirty="0">
                <a:solidFill>
                  <a:schemeClr val="tx1"/>
                </a:solidFill>
                <a:effectLst/>
                <a:latin typeface="Arial"/>
                <a:ea typeface="+mn-ea"/>
                <a:cs typeface="Arial" charset="0"/>
                <a:sym typeface="Arial"/>
              </a:rPr>
              <a:t>. http://breachlevelindex.com/pdf/Breach-Level-Index-Annual-Report-2014.pdf </a:t>
            </a:r>
            <a:endParaRPr lang="en-US" sz="1400" dirty="0">
              <a:solidFill>
                <a:schemeClr val="tx1">
                  <a:lumMod val="50000"/>
                </a:schemeClr>
              </a:solidFill>
            </a:endParaRPr>
          </a:p>
          <a:p>
            <a:pPr algn="l">
              <a:lnSpc>
                <a:spcPct val="90000"/>
              </a:lnSpc>
              <a:spcAft>
                <a:spcPts val="600"/>
              </a:spcAft>
            </a:pPr>
            <a:r>
              <a:rPr lang="en-US" sz="1400" baseline="30000" dirty="0">
                <a:solidFill>
                  <a:schemeClr val="tx1">
                    <a:lumMod val="50000"/>
                  </a:schemeClr>
                </a:solidFill>
                <a:cs typeface="Segoe UI Light"/>
              </a:rPr>
              <a:t>4 </a:t>
            </a:r>
            <a:r>
              <a:rPr lang="en-US" sz="1400" dirty="0">
                <a:solidFill>
                  <a:schemeClr val="tx1">
                    <a:lumMod val="50000"/>
                  </a:schemeClr>
                </a:solidFill>
              </a:rPr>
              <a:t>Naked Security, Feb. 2014. https://nakedsecurity.sophos.com/2014/02/19/2013-an-epic-year-for-data-breaches-with-over-800-million-records-lost/</a:t>
            </a:r>
          </a:p>
          <a:p>
            <a:pPr marL="0" marR="0" indent="0" algn="l" defTabSz="914400" rtl="0" eaLnBrk="1" fontAlgn="base" latinLnBrk="0" hangingPunct="1">
              <a:lnSpc>
                <a:spcPct val="90000"/>
              </a:lnSpc>
              <a:spcBef>
                <a:spcPct val="30000"/>
              </a:spcBef>
              <a:spcAft>
                <a:spcPts val="600"/>
              </a:spcAft>
              <a:buClrTx/>
              <a:buSzTx/>
              <a:buFontTx/>
              <a:buNone/>
              <a:tabLst/>
              <a:defRPr/>
            </a:pPr>
            <a:r>
              <a:rPr lang="en-US" sz="1400" baseline="30000" dirty="0">
                <a:solidFill>
                  <a:schemeClr val="tx1">
                    <a:lumMod val="50000"/>
                  </a:schemeClr>
                </a:solidFill>
                <a:cs typeface="Segoe UI Light"/>
              </a:rPr>
              <a:t>5 </a:t>
            </a:r>
            <a:r>
              <a:rPr lang="en-US" sz="1400" baseline="0" dirty="0">
                <a:solidFill>
                  <a:schemeClr val="tx1">
                    <a:lumMod val="50000"/>
                  </a:schemeClr>
                </a:solidFill>
                <a:cs typeface="Arial" charset="0"/>
              </a:rPr>
              <a:t>Pew Research Center, ‘</a:t>
            </a:r>
            <a:r>
              <a:rPr lang="en-US" sz="1400" b="0" i="0" kern="1200" dirty="0">
                <a:solidFill>
                  <a:schemeClr val="tx1"/>
                </a:solidFill>
                <a:effectLst/>
                <a:latin typeface="Arial"/>
                <a:ea typeface="+mn-ea"/>
                <a:cs typeface="Arial" charset="0"/>
                <a:sym typeface="Arial"/>
              </a:rPr>
              <a:t>Public Perceptions of Privacy and Security in the Post-Snowden Era,</a:t>
            </a:r>
            <a:r>
              <a:rPr lang="en-US" sz="1400" b="1" i="0" kern="1200" dirty="0">
                <a:solidFill>
                  <a:schemeClr val="tx1"/>
                </a:solidFill>
                <a:effectLst/>
                <a:latin typeface="Arial"/>
                <a:ea typeface="+mn-ea"/>
                <a:cs typeface="Arial" charset="0"/>
                <a:sym typeface="Arial"/>
              </a:rPr>
              <a:t>” </a:t>
            </a:r>
            <a:r>
              <a:rPr lang="en-US" sz="1400" b="0" i="0" kern="1200" dirty="0">
                <a:solidFill>
                  <a:schemeClr val="tx1"/>
                </a:solidFill>
                <a:effectLst/>
                <a:latin typeface="Arial"/>
                <a:ea typeface="+mn-ea"/>
                <a:cs typeface="Arial" charset="0"/>
                <a:sym typeface="Arial"/>
              </a:rPr>
              <a:t>Nov.</a:t>
            </a:r>
            <a:r>
              <a:rPr lang="en-US" sz="1400" b="0" i="0" kern="1200" baseline="0" dirty="0">
                <a:solidFill>
                  <a:schemeClr val="tx1"/>
                </a:solidFill>
                <a:effectLst/>
                <a:latin typeface="Arial"/>
                <a:ea typeface="+mn-ea"/>
                <a:cs typeface="Arial" charset="0"/>
                <a:sym typeface="Arial"/>
              </a:rPr>
              <a:t> 12, 2014. </a:t>
            </a:r>
            <a:r>
              <a:rPr lang="en-US" sz="1400" baseline="0" dirty="0">
                <a:solidFill>
                  <a:schemeClr val="tx1">
                    <a:lumMod val="50000"/>
                  </a:schemeClr>
                </a:solidFill>
                <a:cs typeface="Arial" charset="0"/>
              </a:rPr>
              <a:t>http://www.pewinternet.org/2014/11/12/public-privacy-perceptions/</a:t>
            </a:r>
          </a:p>
          <a:p>
            <a:pPr algn="l">
              <a:lnSpc>
                <a:spcPct val="90000"/>
              </a:lnSpc>
              <a:spcAft>
                <a:spcPts val="600"/>
              </a:spcAft>
            </a:pPr>
            <a:endParaRPr lang="en-US" sz="1400" dirty="0">
              <a:solidFill>
                <a:schemeClr val="accent1"/>
              </a:solidFill>
            </a:endParaRPr>
          </a:p>
        </p:txBody>
      </p:sp>
      <p:sp>
        <p:nvSpPr>
          <p:cNvPr id="4" name="Slide Number Placeholder 3"/>
          <p:cNvSpPr>
            <a:spLocks noGrp="1"/>
          </p:cNvSpPr>
          <p:nvPr>
            <p:ph type="sldNum" sz="quarter" idx="10"/>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B2B8AD64-0AA2-4D71-8B13-28C950C46D2A}" type="slidenum">
              <a:rPr kumimoji="0" lang="en-US" sz="12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895350" rtl="0" eaLnBrk="1" fontAlgn="base" latinLnBrk="0" hangingPunct="1">
                <a:lnSpc>
                  <a:spcPct val="100000"/>
                </a:lnSpc>
                <a:spcBef>
                  <a:spcPct val="0"/>
                </a:spcBef>
                <a:spcAft>
                  <a:spcPts val="0"/>
                </a:spcAft>
                <a:buClrTx/>
                <a:buSzTx/>
                <a:buFontTx/>
                <a:buNone/>
                <a:tabLst/>
                <a:defRPr/>
              </a:pPr>
              <a:t>10</a:t>
            </a:fld>
            <a:endParaRPr kumimoji="0" lang="en-US" sz="1200" b="1"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96871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ap yourself in, there’s a LOT of security coming your way!   Helpful to get a sense of the myriad of offerings provided to customers, because our sales teams and solutions architects have to figure out what’s in a customer’s environment and help them decide what they need in terms of security.  It’s no small task.</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019 10:25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99977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13927" fontAlgn="base">
              <a:lnSpc>
                <a:spcPct val="95000"/>
              </a:lnSpc>
              <a:spcBef>
                <a:spcPct val="0"/>
              </a:spcBef>
              <a:spcAft>
                <a:spcPct val="0"/>
              </a:spcAft>
            </a:pPr>
            <a:r>
              <a:rPr lang="en-US" sz="900" kern="0" spc="49" dirty="0">
                <a:solidFill>
                  <a:srgbClr val="FFFFFF"/>
                </a:solidFill>
                <a:latin typeface="Segoe UI Light"/>
                <a:cs typeface="Segoe UI" panose="020B0502040204020203" pitchFamily="34" charset="0"/>
              </a:rPr>
              <a:t>For the first time, the Microsoft Cloud will be delivered directly from Africa </a:t>
            </a:r>
          </a:p>
          <a:p>
            <a:pPr algn="l" defTabSz="913927" fontAlgn="base">
              <a:lnSpc>
                <a:spcPct val="95000"/>
              </a:lnSpc>
              <a:spcBef>
                <a:spcPct val="0"/>
              </a:spcBef>
              <a:spcAft>
                <a:spcPct val="0"/>
              </a:spcAft>
            </a:pPr>
            <a:endParaRPr lang="en-US" sz="900" kern="0" spc="49" dirty="0">
              <a:solidFill>
                <a:srgbClr val="FFFFFF"/>
              </a:solidFill>
              <a:latin typeface="Segoe UI Light"/>
              <a:cs typeface="Segoe UI" panose="020B0502040204020203" pitchFamily="34" charset="0"/>
            </a:endParaRPr>
          </a:p>
          <a:p>
            <a:pPr algn="l" defTabSz="913927" fontAlgn="base">
              <a:lnSpc>
                <a:spcPct val="95000"/>
              </a:lnSpc>
              <a:spcBef>
                <a:spcPct val="0"/>
              </a:spcBef>
              <a:spcAft>
                <a:spcPct val="0"/>
              </a:spcAft>
            </a:pPr>
            <a:r>
              <a:rPr lang="en-US" sz="900" kern="0" spc="49" dirty="0">
                <a:solidFill>
                  <a:srgbClr val="FFFFFF"/>
                </a:solidFill>
                <a:latin typeface="Segoe UI Light"/>
                <a:cs typeface="Segoe UI" panose="020B0502040204020203" pitchFamily="34" charset="0"/>
              </a:rPr>
              <a:t>New </a:t>
            </a:r>
            <a:r>
              <a:rPr lang="en-US" sz="900" kern="0" spc="49" dirty="0" err="1">
                <a:solidFill>
                  <a:srgbClr val="FFFFFF"/>
                </a:solidFill>
                <a:latin typeface="Segoe UI Light"/>
                <a:cs typeface="Segoe UI" panose="020B0502040204020203" pitchFamily="34" charset="0"/>
              </a:rPr>
              <a:t>datacentres</a:t>
            </a:r>
            <a:r>
              <a:rPr lang="en-US" sz="900" kern="0" spc="49" dirty="0">
                <a:solidFill>
                  <a:srgbClr val="FFFFFF"/>
                </a:solidFill>
                <a:latin typeface="Segoe UI Light"/>
                <a:cs typeface="Segoe UI" panose="020B0502040204020203" pitchFamily="34" charset="0"/>
              </a:rPr>
              <a:t> in Johannesburg &amp; Cape Town with initial availability in 2018</a:t>
            </a:r>
          </a:p>
          <a:p>
            <a:pPr algn="l" defTabSz="913927" fontAlgn="base">
              <a:lnSpc>
                <a:spcPct val="95000"/>
              </a:lnSpc>
              <a:spcBef>
                <a:spcPct val="0"/>
              </a:spcBef>
              <a:spcAft>
                <a:spcPct val="0"/>
              </a:spcAft>
            </a:pPr>
            <a:endParaRPr lang="en-US" sz="900" kern="0" spc="49" dirty="0">
              <a:solidFill>
                <a:srgbClr val="FFFFFF"/>
              </a:solidFill>
              <a:latin typeface="Segoe UI Light"/>
              <a:cs typeface="Segoe UI" panose="020B0502040204020203" pitchFamily="34" charset="0"/>
            </a:endParaRPr>
          </a:p>
          <a:p>
            <a:pPr algn="l" defTabSz="913927" fontAlgn="base">
              <a:lnSpc>
                <a:spcPct val="95000"/>
              </a:lnSpc>
              <a:spcBef>
                <a:spcPct val="0"/>
              </a:spcBef>
              <a:spcAft>
                <a:spcPct val="0"/>
              </a:spcAft>
            </a:pPr>
            <a:r>
              <a:rPr lang="en-US" sz="900" kern="0" spc="49" dirty="0">
                <a:solidFill>
                  <a:srgbClr val="FFFFFF"/>
                </a:solidFill>
                <a:latin typeface="Segoe UI Light"/>
                <a:cs typeface="Segoe UI" panose="020B0502040204020203" pitchFamily="34" charset="0"/>
              </a:rPr>
              <a:t>Enabling greater innovation, </a:t>
            </a:r>
            <a:r>
              <a:rPr lang="en-US" sz="900" kern="0" spc="49" dirty="0">
                <a:solidFill>
                  <a:schemeClr val="bg1"/>
                </a:solidFill>
                <a:latin typeface="Segoe UI Light"/>
                <a:cs typeface="Segoe UI" panose="020B0502040204020203" pitchFamily="34" charset="0"/>
              </a:rPr>
              <a:t>skills, entrepreneurship, and growth in Africa</a:t>
            </a:r>
          </a:p>
          <a:p>
            <a:pPr algn="l" defTabSz="913927" fontAlgn="base">
              <a:lnSpc>
                <a:spcPct val="95000"/>
              </a:lnSpc>
              <a:spcBef>
                <a:spcPct val="0"/>
              </a:spcBef>
              <a:spcAft>
                <a:spcPct val="0"/>
              </a:spcAft>
            </a:pPr>
            <a:endParaRPr lang="en-US" sz="900" kern="0" spc="49" dirty="0">
              <a:solidFill>
                <a:schemeClr val="bg1"/>
              </a:solidFill>
              <a:latin typeface="Segoe UI Light"/>
              <a:cs typeface="Segoe UI" panose="020B0502040204020203" pitchFamily="34" charset="0"/>
            </a:endParaRPr>
          </a:p>
          <a:p>
            <a:pPr algn="l" defTabSz="913927" fontAlgn="base">
              <a:lnSpc>
                <a:spcPct val="95000"/>
              </a:lnSpc>
              <a:spcBef>
                <a:spcPct val="0"/>
              </a:spcBef>
              <a:spcAft>
                <a:spcPct val="0"/>
              </a:spcAft>
            </a:pPr>
            <a:r>
              <a:rPr lang="en-US" sz="900" kern="0" spc="49" dirty="0">
                <a:solidFill>
                  <a:schemeClr val="bg1"/>
                </a:solidFill>
                <a:latin typeface="Segoe UI Light"/>
                <a:cs typeface="Segoe UI" panose="020B0502040204020203" pitchFamily="34" charset="0"/>
              </a:rPr>
              <a:t>Enterprise-grade reliability &amp; performance combined with data residency, privacy and sovereignty</a:t>
            </a:r>
          </a:p>
          <a:p>
            <a:pPr algn="l" defTabSz="913927" fontAlgn="base">
              <a:lnSpc>
                <a:spcPct val="95000"/>
              </a:lnSpc>
              <a:spcBef>
                <a:spcPct val="0"/>
              </a:spcBef>
              <a:spcAft>
                <a:spcPct val="0"/>
              </a:spcAft>
            </a:pPr>
            <a:endParaRPr lang="en-US" sz="900" kern="0" spc="49" dirty="0">
              <a:solidFill>
                <a:schemeClr val="bg1"/>
              </a:solidFill>
              <a:latin typeface="Segoe UI Light"/>
              <a:cs typeface="Segoe UI" panose="020B0502040204020203" pitchFamily="34" charset="0"/>
            </a:endParaRPr>
          </a:p>
          <a:p>
            <a:pPr algn="l" defTabSz="913927" fontAlgn="base">
              <a:lnSpc>
                <a:spcPct val="95000"/>
              </a:lnSpc>
              <a:spcBef>
                <a:spcPct val="0"/>
              </a:spcBef>
              <a:spcAft>
                <a:spcPct val="0"/>
              </a:spcAft>
            </a:pPr>
            <a:r>
              <a:rPr lang="en-US" sz="900" kern="0" spc="49" dirty="0">
                <a:solidFill>
                  <a:schemeClr val="bg1"/>
                </a:solidFill>
                <a:latin typeface="Segoe UI Light"/>
                <a:cs typeface="Segoe UI" panose="020B0502040204020203" pitchFamily="34" charset="0"/>
              </a:rPr>
              <a:t>Improve access to cloud </a:t>
            </a:r>
          </a:p>
          <a:p>
            <a:pPr algn="l" defTabSz="913927" fontAlgn="base">
              <a:lnSpc>
                <a:spcPct val="95000"/>
              </a:lnSpc>
              <a:spcBef>
                <a:spcPct val="0"/>
              </a:spcBef>
              <a:spcAft>
                <a:spcPct val="0"/>
              </a:spcAft>
            </a:pPr>
            <a:endParaRPr lang="en-US" sz="900" kern="0" spc="49" dirty="0">
              <a:solidFill>
                <a:schemeClr val="bg1"/>
              </a:solidFill>
              <a:latin typeface="Segoe UI Light"/>
              <a:cs typeface="Segoe UI" panose="020B0502040204020203" pitchFamily="34" charset="0"/>
            </a:endParaRPr>
          </a:p>
          <a:p>
            <a:pPr algn="l" defTabSz="913927" fontAlgn="base">
              <a:lnSpc>
                <a:spcPct val="95000"/>
              </a:lnSpc>
              <a:spcBef>
                <a:spcPct val="0"/>
              </a:spcBef>
              <a:spcAft>
                <a:spcPct val="0"/>
              </a:spcAft>
            </a:pPr>
            <a:r>
              <a:rPr lang="en-US" sz="900" kern="0" spc="49" dirty="0">
                <a:solidFill>
                  <a:schemeClr val="bg1"/>
                </a:solidFill>
                <a:latin typeface="Segoe UI Light"/>
                <a:cs typeface="Segoe UI" panose="020B0502040204020203" pitchFamily="34" charset="0"/>
              </a:rPr>
              <a:t>Cost savings and efficiencies through local adoption of cloud</a:t>
            </a:r>
            <a:endParaRPr lang="en-US" sz="900" kern="0" spc="49" dirty="0">
              <a:solidFill>
                <a:srgbClr val="FFFFFF"/>
              </a:solidFill>
              <a:latin typeface="Segoe UI Light"/>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0156" rtl="0" eaLnBrk="0" fontAlgn="base" latinLnBrk="0" hangingPunct="0">
              <a:lnSpc>
                <a:spcPct val="100000"/>
              </a:lnSpc>
              <a:spcBef>
                <a:spcPct val="0"/>
              </a:spcBef>
              <a:spcAft>
                <a:spcPct val="0"/>
              </a:spcAft>
              <a:buClrTx/>
              <a:buSzTx/>
              <a:buFontTx/>
              <a:buNone/>
              <a:tabLst/>
              <a:defRPr/>
            </a:pPr>
            <a:r>
              <a:rPr kumimoji="0" lang="en-US" altLang="en-US" sz="4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Segoe UI" panose="020B0502040204020203"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7/1/2019 10:17 AM</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anose="020B0502040204020203" pitchFamily="34" charset="0"/>
                <a:ea typeface="MS PGothic"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Segoe UI" panose="020B0502040204020203" pitchFamily="34" charset="0"/>
              <a:ea typeface="MS PGothic" panose="020B0600070205080204" pitchFamily="34" charset="-128"/>
              <a:cs typeface="+mn-cs"/>
            </a:endParaRPr>
          </a:p>
        </p:txBody>
      </p:sp>
    </p:spTree>
    <p:extLst>
      <p:ext uri="{BB962C8B-B14F-4D97-AF65-F5344CB8AC3E}">
        <p14:creationId xmlns:p14="http://schemas.microsoft.com/office/powerpoint/2010/main" val="8287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dirty="0">
                <a:solidFill>
                  <a:schemeClr val="tx1"/>
                </a:solidFill>
                <a:effectLst/>
                <a:latin typeface="Arial"/>
                <a:ea typeface="+mn-ea"/>
                <a:cs typeface="Arial" charset="0"/>
                <a:sym typeface="Arial"/>
              </a:rPr>
              <a:t>Microsoft is committed – starting at the top – to providing a cloud you can trust.  We take very seriously our commitment to protect customers in a cloud-first world.  We follow a set of standards and best practices to ensure that our cloud services are reliable and perform as you need them to. And we actively partner with a wide range of industry and government entities to establish confidence and trust in the wider cloud ecosystem.</a:t>
            </a:r>
            <a:endParaRPr lang="en-US" dirty="0"/>
          </a:p>
        </p:txBody>
      </p:sp>
      <p:sp>
        <p:nvSpPr>
          <p:cNvPr id="4" name="Slide Number Placeholder 3"/>
          <p:cNvSpPr>
            <a:spLocks noGrp="1"/>
          </p:cNvSpPr>
          <p:nvPr>
            <p:ph type="sldNum" sz="quarter" idx="10"/>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5CA7C1A6-3F6E-4A0C-A01A-2F04D27288E6}" type="slidenum">
              <a:rPr kumimoji="0" lang="en-GB" sz="1200" b="1" i="0" u="none" strike="noStrike" kern="1200" cap="none" spc="0" normalizeH="0" baseline="0" noProof="0" smtClean="0">
                <a:ln>
                  <a:noFill/>
                </a:ln>
                <a:solidFill>
                  <a:srgbClr val="000000"/>
                </a:solidFill>
                <a:effectLst/>
                <a:uLnTx/>
                <a:uFillTx/>
                <a:latin typeface="Arial"/>
                <a:ea typeface="+mn-ea"/>
                <a:cs typeface="+mn-cs"/>
              </a:rPr>
              <a:pPr marL="0" marR="0" lvl="0" indent="0" algn="r" defTabSz="895350" rtl="0" eaLnBrk="1" fontAlgn="base" latinLnBrk="0" hangingPunct="1">
                <a:lnSpc>
                  <a:spcPct val="100000"/>
                </a:lnSpc>
                <a:spcBef>
                  <a:spcPct val="0"/>
                </a:spcBef>
                <a:spcAft>
                  <a:spcPts val="0"/>
                </a:spcAft>
                <a:buClrTx/>
                <a:buSzTx/>
                <a:buFontTx/>
                <a:buNone/>
                <a:tabLst/>
                <a:defRPr/>
              </a:pPr>
              <a:t>13</a:t>
            </a:fld>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39024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8B263312-38AA-4E1E-B2B5-0F8F122B24FE}" type="slidenum">
              <a:rPr kumimoji="0" lang="en-US" sz="12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895350" rtl="0" eaLnBrk="1" fontAlgn="base" latinLnBrk="0" hangingPunct="1">
                <a:lnSpc>
                  <a:spcPct val="100000"/>
                </a:lnSpc>
                <a:spcBef>
                  <a:spcPct val="0"/>
                </a:spcBef>
                <a:spcAft>
                  <a:spcPts val="0"/>
                </a:spcAft>
                <a:buClrTx/>
                <a:buSzTx/>
                <a:buFontTx/>
                <a:buNone/>
                <a:tabLst/>
                <a:defRPr/>
              </a:pPr>
              <a:t>14</a:t>
            </a:fld>
            <a:endParaRPr kumimoji="0" lang="en-US" sz="1200" b="1" i="0" u="none" strike="noStrike" kern="1200" cap="none" spc="0" normalizeH="0" baseline="0" noProof="0" dirty="0">
              <a:ln>
                <a:noFill/>
              </a:ln>
              <a:solidFill>
                <a:prstClr val="black"/>
              </a:solidFill>
              <a:effectLst/>
              <a:uLnTx/>
              <a:uFillTx/>
              <a:latin typeface="Arial"/>
              <a:ea typeface="+mn-ea"/>
              <a:cs typeface="+mn-cs"/>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r>
              <a:rPr lang="en-US" sz="1400" b="0" kern="1200" dirty="0">
                <a:solidFill>
                  <a:schemeClr val="tx1"/>
                </a:solidFill>
                <a:effectLst/>
                <a:latin typeface="Arial"/>
                <a:ea typeface="+mn-ea"/>
                <a:cs typeface="Arial" charset="0"/>
                <a:sym typeface="Arial"/>
              </a:rPr>
              <a:t>We take seriously our commitment to safeguard our customers’ data, to protect their right to make decisions about that data, and to be transparent about what happens to that data. We are guided by  a set of “Trusted Cloud Principles,” that articulate our vision of what enterprise organizations are entitled to expect from their cloud provider: </a:t>
            </a:r>
          </a:p>
          <a:p>
            <a:endParaRPr lang="en-US" sz="1400" b="0" kern="1200" dirty="0">
              <a:solidFill>
                <a:schemeClr val="tx1"/>
              </a:solidFill>
              <a:effectLst/>
              <a:latin typeface="Arial"/>
              <a:ea typeface="+mn-ea"/>
              <a:cs typeface="Arial" charset="0"/>
              <a:sym typeface="Arial"/>
            </a:endParaRPr>
          </a:p>
          <a:p>
            <a:pPr lvl="0"/>
            <a:r>
              <a:rPr lang="en-US" sz="1400" b="1" i="1" kern="1200" dirty="0">
                <a:solidFill>
                  <a:schemeClr val="tx1"/>
                </a:solidFill>
                <a:effectLst/>
                <a:latin typeface="Arial"/>
                <a:ea typeface="+mn-ea"/>
                <a:cs typeface="Arial" charset="0"/>
                <a:sym typeface="Arial"/>
              </a:rPr>
              <a:t>Security:</a:t>
            </a:r>
            <a:r>
              <a:rPr lang="en-US" sz="1400" b="1" kern="1200" dirty="0">
                <a:solidFill>
                  <a:schemeClr val="tx1"/>
                </a:solidFill>
                <a:effectLst/>
                <a:latin typeface="Arial"/>
                <a:ea typeface="+mn-ea"/>
                <a:cs typeface="Arial" charset="0"/>
                <a:sym typeface="Arial"/>
              </a:rPr>
              <a:t> </a:t>
            </a:r>
            <a:r>
              <a:rPr lang="en-US" sz="1400" kern="1200" dirty="0">
                <a:solidFill>
                  <a:schemeClr val="tx1"/>
                </a:solidFill>
                <a:effectLst/>
                <a:latin typeface="Arial"/>
                <a:ea typeface="+mn-ea"/>
                <a:cs typeface="Arial" charset="0"/>
                <a:sym typeface="Arial"/>
              </a:rPr>
              <a:t>The confidentiality, integrity, and availability of your data is secured. Microsoft cloud services are designed, developed, and operated to help ensure that your data is secure.</a:t>
            </a:r>
          </a:p>
          <a:p>
            <a:pPr lvl="0"/>
            <a:r>
              <a:rPr lang="en-US" sz="1400" b="1" i="1" kern="1200" dirty="0">
                <a:solidFill>
                  <a:schemeClr val="tx1"/>
                </a:solidFill>
                <a:effectLst/>
                <a:latin typeface="Arial"/>
                <a:ea typeface="+mn-ea"/>
                <a:cs typeface="Arial" charset="0"/>
                <a:sym typeface="Arial"/>
              </a:rPr>
              <a:t>Privacy &amp; Control:</a:t>
            </a:r>
            <a:r>
              <a:rPr lang="en-US" sz="1400" b="1" kern="1200" dirty="0">
                <a:solidFill>
                  <a:schemeClr val="tx1"/>
                </a:solidFill>
                <a:effectLst/>
                <a:latin typeface="Arial"/>
                <a:ea typeface="+mn-ea"/>
                <a:cs typeface="Arial" charset="0"/>
                <a:sym typeface="Arial"/>
              </a:rPr>
              <a:t> </a:t>
            </a:r>
            <a:r>
              <a:rPr lang="en-US" sz="1400" kern="1200" dirty="0">
                <a:solidFill>
                  <a:schemeClr val="tx1"/>
                </a:solidFill>
                <a:effectLst/>
                <a:latin typeface="Arial"/>
                <a:ea typeface="+mn-ea"/>
                <a:cs typeface="Arial" charset="0"/>
                <a:sym typeface="Arial"/>
              </a:rPr>
              <a:t>No one is able to use your data in a way that you do not approve. Microsoft prioritizes your data privacy; our commercial cloud customers own their data and we don’t use it to deliver targeted advertising</a:t>
            </a:r>
          </a:p>
          <a:p>
            <a:pPr lvl="0"/>
            <a:r>
              <a:rPr lang="en-US" sz="1400" b="1" i="1" kern="1200" dirty="0">
                <a:solidFill>
                  <a:schemeClr val="tx1"/>
                </a:solidFill>
                <a:effectLst/>
                <a:latin typeface="Arial"/>
                <a:ea typeface="+mn-ea"/>
                <a:cs typeface="Arial" charset="0"/>
                <a:sym typeface="Arial"/>
              </a:rPr>
              <a:t>Compliance:</a:t>
            </a:r>
            <a:r>
              <a:rPr lang="en-US" sz="1400" i="1" kern="1200" dirty="0">
                <a:solidFill>
                  <a:schemeClr val="tx1"/>
                </a:solidFill>
                <a:effectLst/>
                <a:latin typeface="Arial"/>
                <a:ea typeface="+mn-ea"/>
                <a:cs typeface="Arial" charset="0"/>
                <a:sym typeface="Arial"/>
              </a:rPr>
              <a:t> </a:t>
            </a:r>
            <a:r>
              <a:rPr lang="en-US" sz="1400" kern="1200" dirty="0">
                <a:solidFill>
                  <a:schemeClr val="tx1"/>
                </a:solidFill>
                <a:effectLst/>
                <a:latin typeface="Arial"/>
                <a:ea typeface="+mn-ea"/>
                <a:cs typeface="Arial" charset="0"/>
                <a:sym typeface="Arial"/>
              </a:rPr>
              <a:t>You can meet your regulatory obligations. This means we support you with certified compliance credentials, backed by third-party audits.</a:t>
            </a:r>
          </a:p>
          <a:p>
            <a:r>
              <a:rPr lang="en-US" sz="1400" b="1" i="1" kern="1200" dirty="0">
                <a:solidFill>
                  <a:schemeClr val="tx1"/>
                </a:solidFill>
                <a:effectLst/>
                <a:latin typeface="Arial"/>
                <a:ea typeface="+mn-ea"/>
                <a:cs typeface="Arial" charset="0"/>
                <a:sym typeface="Arial"/>
              </a:rPr>
              <a:t>Transparency:</a:t>
            </a:r>
            <a:r>
              <a:rPr lang="en-US" sz="1400" b="1" kern="1200" dirty="0">
                <a:solidFill>
                  <a:schemeClr val="tx1"/>
                </a:solidFill>
                <a:effectLst/>
                <a:latin typeface="Arial"/>
                <a:ea typeface="+mn-ea"/>
                <a:cs typeface="Arial" charset="0"/>
                <a:sym typeface="Arial"/>
              </a:rPr>
              <a:t> </a:t>
            </a:r>
            <a:r>
              <a:rPr lang="en-US" sz="1400" kern="1200" dirty="0">
                <a:solidFill>
                  <a:schemeClr val="tx1"/>
                </a:solidFill>
                <a:effectLst/>
                <a:latin typeface="Arial"/>
                <a:ea typeface="+mn-ea"/>
                <a:cs typeface="Arial" charset="0"/>
                <a:sym typeface="Arial"/>
              </a:rPr>
              <a:t>You understand how your data is being handled and used. This means we provide an appropriate level of transparency into security, privacy and compliance practices and actions to help protect your information.</a:t>
            </a:r>
            <a:endParaRPr lang="en-US" dirty="0"/>
          </a:p>
        </p:txBody>
      </p:sp>
      <p:sp>
        <p:nvSpPr>
          <p:cNvPr id="16" name="Date Placeholder 15"/>
          <p:cNvSpPr>
            <a:spLocks noGrp="1"/>
          </p:cNvSpPr>
          <p:nvPr>
            <p:ph type="dt" idx="13"/>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8453B4A1-23F0-4EA8-922A-C21006FB5AB3}" type="datetime1">
              <a:rPr kumimoji="0" lang="en-US" sz="1200" b="1"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895350" rtl="0" eaLnBrk="1" fontAlgn="base" latinLnBrk="0" hangingPunct="1">
                <a:lnSpc>
                  <a:spcPct val="100000"/>
                </a:lnSpc>
                <a:spcBef>
                  <a:spcPct val="0"/>
                </a:spcBef>
                <a:spcAft>
                  <a:spcPts val="0"/>
                </a:spcAft>
                <a:buClrTx/>
                <a:buSzTx/>
                <a:buFontTx/>
                <a:buNone/>
                <a:tabLst/>
                <a:defRPr/>
              </a:pPr>
              <a:t>7/1/2019</a:t>
            </a:fld>
            <a:endParaRPr kumimoji="0" lang="en-US" sz="1200" b="1" i="0" u="none" strike="noStrike" kern="1200" cap="none" spc="0" normalizeH="0" baseline="0" noProof="0" dirty="0">
              <a:ln>
                <a:noFill/>
              </a:ln>
              <a:solidFill>
                <a:prstClr val="black"/>
              </a:solidFill>
              <a:effectLst/>
              <a:uLnTx/>
              <a:uFillTx/>
              <a:latin typeface="Arial"/>
              <a:ea typeface="+mn-ea"/>
              <a:cs typeface="Arial"/>
              <a:sym typeface="Arial"/>
            </a:endParaRPr>
          </a:p>
        </p:txBody>
      </p:sp>
      <p:sp>
        <p:nvSpPr>
          <p:cNvPr id="4" name="Footer Placeholder 3"/>
          <p:cNvSpPr>
            <a:spLocks noGrp="1"/>
          </p:cNvSpPr>
          <p:nvPr>
            <p:ph type="ftr" sz="quarter" idx="14"/>
          </p:nvPr>
        </p:nvSpPr>
        <p:spPr/>
        <p:txBody>
          <a:bodyPr/>
          <a:lstStyle/>
          <a:p>
            <a:pPr marL="0" marR="0" lvl="0" indent="0" algn="l" defTabSz="914099" rtl="0" eaLnBrk="0" fontAlgn="base" latinLnBrk="0" hangingPunct="0">
              <a:lnSpc>
                <a:spcPct val="100000"/>
              </a:lnSpc>
              <a:spcBef>
                <a:spcPct val="0"/>
              </a:spcBef>
              <a:spcAft>
                <a:spcPts val="0"/>
              </a:spcAft>
              <a:buClrTx/>
              <a:buSzTx/>
              <a:buFontTx/>
              <a:buNone/>
              <a:tabLst/>
              <a:defRPr/>
            </a:pPr>
            <a:r>
              <a:rPr kumimoji="0" lang="en-US" sz="400" b="1"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1"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endParaRPr>
          </a:p>
        </p:txBody>
      </p:sp>
    </p:spTree>
    <p:extLst>
      <p:ext uri="{BB962C8B-B14F-4D97-AF65-F5344CB8AC3E}">
        <p14:creationId xmlns:p14="http://schemas.microsoft.com/office/powerpoint/2010/main" val="11998666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uth African Government’ mission is primarily guided by the NDP vision 2030. </a:t>
            </a:r>
            <a:r>
              <a:rPr lang="en-ZA" b="0" i="0" dirty="0">
                <a:solidFill>
                  <a:srgbClr val="222222"/>
                </a:solidFill>
                <a:effectLst/>
                <a:latin typeface="MundoSansStd"/>
              </a:rPr>
              <a:t>The National Development Plan, or NDP, is a plan to unite South Africans, unleash the energies of its citizens, grow an inclusive economy, build capabilities, and enhance the capability of the state and leaders working together to solve complex problems.  This document has been adopted by Government as a detailed blueprint for how the country can eliminate poverty and reduce inequality by the year 2030, it therefore informs all Government Planning activities (priorities).  The 14 outcomes are extracted from the NDP and cover all spheres of Government in South Africa and across all the outcomes there are DT opportunities.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CC9271-859A-4A1F-AFC4-A6B87F4C3E8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2019 10:2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742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885CB5E-B39B-41E6-BFEC-A97001B7DA3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5469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mn-lt"/>
                <a:ea typeface="+mn-ea"/>
                <a:cs typeface="+mn-cs"/>
              </a:rPr>
              <a:t>As quoted from the Economist.  It’s not a new idea. A decade ago, Clive Humby a customer behavior scientist, made headlines when he declared that “data was the new oil”. It is a great metaphor – just like oil, in its rawest form, data is almost useless. But when it is refined it can be turned into something much more valuable as is proven by Uber, Airbnb and some social media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Data creation has led to challenges of how to process, store and protect it at an affordable price point.</a:t>
            </a:r>
            <a:endParaRPr lang="en-GB"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10608-521D-4452-8600-8BCF81021A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1495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4E6B7-616A-4EF3-8159-8521F030C1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7465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4E6B7-616A-4EF3-8159-8521F030C1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078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kern="1200" dirty="0">
                <a:solidFill>
                  <a:schemeClr val="tx1"/>
                </a:solidFill>
                <a:effectLst/>
                <a:latin typeface="Arial"/>
                <a:ea typeface="+mn-ea"/>
                <a:cs typeface="Arial" charset="0"/>
                <a:sym typeface="Arial"/>
              </a:rPr>
              <a:t>Cloud technology has made possible opportunities that can be truly transformative for businesses. The adoption of cloud services worldwide has continued to accelerate at an incredible pace, for many reasons. For almost all industries, the cloud changes how people work, where people work, and the ways people do business. With the emergence of cloud computing, today’s IT organizations are playing an increasingly important role in driving business strategy. While cost reduction is still a top priority, scalability and business agility have stepped to the forefront for IT decision makers. As a result, spending on cloud solutions is expected to grow 30 percent from 2013 to 2018, compared with 5 percent overall growth for enterprise IT (</a:t>
            </a:r>
            <a:r>
              <a:rPr lang="en-US" sz="1400" i="1" kern="1200" dirty="0">
                <a:solidFill>
                  <a:schemeClr val="tx1"/>
                </a:solidFill>
                <a:effectLst/>
                <a:latin typeface="Arial"/>
                <a:ea typeface="+mn-ea"/>
                <a:cs typeface="Arial" charset="0"/>
                <a:sym typeface="Arial"/>
              </a:rPr>
              <a:t>Source</a:t>
            </a:r>
            <a:r>
              <a:rPr lang="en-US" sz="1400" kern="1200" dirty="0">
                <a:solidFill>
                  <a:schemeClr val="tx1"/>
                </a:solidFill>
                <a:effectLst/>
                <a:latin typeface="Arial"/>
                <a:ea typeface="+mn-ea"/>
                <a:cs typeface="Arial" charset="0"/>
                <a:sym typeface="Arial"/>
              </a:rPr>
              <a:t>: Goldman Sachs). </a:t>
            </a:r>
            <a:endParaRPr lang="en-US" sz="900" kern="1200" dirty="0">
              <a:solidFill>
                <a:schemeClr val="tx1"/>
              </a:solidFill>
              <a:effectLst/>
              <a:latin typeface="Segoe UI Light" pitchFamily="34" charset="0"/>
              <a:ea typeface="+mn-ea"/>
              <a:cs typeface="+mn-cs"/>
            </a:endParaRPr>
          </a:p>
          <a:p>
            <a:endParaRPr lang="en-IN" dirty="0"/>
          </a:p>
        </p:txBody>
      </p:sp>
      <p:sp>
        <p:nvSpPr>
          <p:cNvPr id="4" name="Header Placeholder 3"/>
          <p:cNvSpPr>
            <a:spLocks noGrp="1"/>
          </p:cNvSpPr>
          <p:nvPr>
            <p:ph type="hdr" sz="quarter" idx="10"/>
          </p:nvPr>
        </p:nvSpPr>
        <p:spPr/>
        <p:txBody>
          <a:bodyPr/>
          <a:lstStyle/>
          <a:p>
            <a:pPr marL="0" marR="0" lvl="0" indent="0" algn="l" defTabSz="895350" rtl="0" eaLnBrk="1" fontAlgn="base"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a:ea typeface="+mn-ea"/>
              <a:cs typeface="Arial"/>
              <a:sym typeface="Arial"/>
            </a:endParaRPr>
          </a:p>
        </p:txBody>
      </p:sp>
      <p:sp>
        <p:nvSpPr>
          <p:cNvPr id="5" name="Footer Placeholder 4"/>
          <p:cNvSpPr>
            <a:spLocks noGrp="1"/>
          </p:cNvSpPr>
          <p:nvPr>
            <p:ph type="ftr" sz="quarter" idx="11"/>
          </p:nvPr>
        </p:nvSpPr>
        <p:spPr/>
        <p:txBody>
          <a:bodyPr/>
          <a:lstStyle/>
          <a:p>
            <a:pPr marL="0" marR="0" lvl="0" indent="0" algn="l" defTabSz="941979" rtl="0" eaLnBrk="0" fontAlgn="base" latinLnBrk="0" hangingPunct="0">
              <a:lnSpc>
                <a:spcPct val="100000"/>
              </a:lnSpc>
              <a:spcBef>
                <a:spcPct val="0"/>
              </a:spcBef>
              <a:spcAft>
                <a:spcPts val="0"/>
              </a:spcAft>
              <a:buClrTx/>
              <a:buSzTx/>
              <a:buFontTx/>
              <a:buNone/>
              <a:tabLst/>
              <a:defRPr/>
            </a:pPr>
            <a:r>
              <a:rPr kumimoji="0" lang="en-US" sz="400" b="1"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 2012 Microsoft Corporation. All rights reserved. Microsoft, Windows, and other product names are or may be registered trademarks and/or trademarks in the U.S. and/or other countries.</a:t>
            </a:r>
          </a:p>
          <a:p>
            <a:pPr marL="0" marR="0" lvl="0" indent="0" algn="l" defTabSz="941979" rtl="0" eaLnBrk="0" fontAlgn="base" latinLnBrk="0" hangingPunct="0">
              <a:lnSpc>
                <a:spcPct val="100000"/>
              </a:lnSpc>
              <a:spcBef>
                <a:spcPct val="0"/>
              </a:spcBef>
              <a:spcAft>
                <a:spcPts val="0"/>
              </a:spcAft>
              <a:buClrTx/>
              <a:buSzTx/>
              <a:buFontTx/>
              <a:buNone/>
              <a:tabLst/>
              <a:defRPr/>
            </a:pPr>
            <a:r>
              <a:rPr kumimoji="0" lang="en-US" sz="400" b="1"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sym typeface="Aria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A0A6C6AE-51D3-4CED-A2FC-C831E8B17EA7}" type="datetime1">
              <a:rPr kumimoji="0" lang="en-US" sz="1200" b="1"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895350" rtl="0" eaLnBrk="1" fontAlgn="base" latinLnBrk="0" hangingPunct="1">
                <a:lnSpc>
                  <a:spcPct val="100000"/>
                </a:lnSpc>
                <a:spcBef>
                  <a:spcPct val="0"/>
                </a:spcBef>
                <a:spcAft>
                  <a:spcPts val="0"/>
                </a:spcAft>
                <a:buClrTx/>
                <a:buSzTx/>
                <a:buFontTx/>
                <a:buNone/>
                <a:tabLst/>
                <a:defRPr/>
              </a:pPr>
              <a:t>7/1/2019</a:t>
            </a:fld>
            <a:endParaRPr kumimoji="0" lang="en-US" sz="1200" b="1" i="0" u="none" strike="noStrike" kern="1200" cap="none" spc="0" normalizeH="0" baseline="0" noProof="0" dirty="0">
              <a:ln>
                <a:noFill/>
              </a:ln>
              <a:solidFill>
                <a:prstClr val="black"/>
              </a:solidFill>
              <a:effectLst/>
              <a:uLnTx/>
              <a:uFillTx/>
              <a:latin typeface="Arial"/>
              <a:ea typeface="+mn-ea"/>
              <a:cs typeface="Arial"/>
              <a:sym typeface="Arial"/>
            </a:endParaRPr>
          </a:p>
        </p:txBody>
      </p:sp>
      <p:sp>
        <p:nvSpPr>
          <p:cNvPr id="7" name="Slide Number Placeholder 6"/>
          <p:cNvSpPr>
            <a:spLocks noGrp="1"/>
          </p:cNvSpPr>
          <p:nvPr>
            <p:ph type="sldNum" sz="quarter" idx="13"/>
          </p:nvPr>
        </p:nvSpPr>
        <p:spPr/>
        <p:txBody>
          <a:bodyPr/>
          <a:lstStyle/>
          <a:p>
            <a:pPr marL="0" marR="0" lvl="0" indent="0" algn="r" defTabSz="895350" rtl="0" eaLnBrk="1" fontAlgn="base" latinLnBrk="0" hangingPunct="1">
              <a:lnSpc>
                <a:spcPct val="100000"/>
              </a:lnSpc>
              <a:spcBef>
                <a:spcPct val="0"/>
              </a:spcBef>
              <a:spcAft>
                <a:spcPts val="0"/>
              </a:spcAft>
              <a:buClrTx/>
              <a:buSzTx/>
              <a:buFontTx/>
              <a:buNone/>
              <a:tabLst/>
              <a:defRPr/>
            </a:pPr>
            <a:fld id="{B4008EB6-D09E-4580-8CD6-DDB14511944F}" type="slidenum">
              <a:rPr kumimoji="0" lang="en-US" sz="12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895350" rtl="0" eaLnBrk="1" fontAlgn="base" latinLnBrk="0" hangingPunct="1">
                <a:lnSpc>
                  <a:spcPct val="100000"/>
                </a:lnSpc>
                <a:spcBef>
                  <a:spcPct val="0"/>
                </a:spcBef>
                <a:spcAft>
                  <a:spcPts val="0"/>
                </a:spcAft>
                <a:buClrTx/>
                <a:buSzTx/>
                <a:buFontTx/>
                <a:buNone/>
                <a:tabLst/>
                <a:defRPr/>
              </a:pPr>
              <a:t>5</a:t>
            </a:fld>
            <a:endParaRPr kumimoji="0" lang="en-US" sz="12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35094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AT" altLang="en-US"/>
          </a:p>
        </p:txBody>
      </p:sp>
      <p:sp>
        <p:nvSpPr>
          <p:cNvPr id="63492"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Arial" pitchFamily="34" charset="0"/>
              </a:rPr>
              <a:t>PRISM FY11</a:t>
            </a:r>
          </a:p>
        </p:txBody>
      </p:sp>
      <p:sp>
        <p:nvSpPr>
          <p:cNvPr id="63493"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51BFE3B-5C6F-422A-BC59-7CAC1B674FF0}" type="datetime1">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1/2019</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p:txBody>
      </p:sp>
      <p:sp>
        <p:nvSpPr>
          <p:cNvPr id="63494"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br>
            <a: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MICROSOFT MAKES NO WARRANTIES, EXPRESS, IMPLIED OR STATUTORY, AS TO THE INFORMATION IN THIS PRESENTATION.</a:t>
            </a:r>
          </a:p>
        </p:txBody>
      </p:sp>
      <p:sp>
        <p:nvSpPr>
          <p:cNvPr id="63495"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48D8848-CB3B-4F4D-B05E-1F0118F29A2A}"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p:txBody>
      </p:sp>
    </p:spTree>
    <p:extLst>
      <p:ext uri="{BB962C8B-B14F-4D97-AF65-F5344CB8AC3E}">
        <p14:creationId xmlns:p14="http://schemas.microsoft.com/office/powerpoint/2010/main" val="16632442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AT" altLang="en-US"/>
          </a:p>
        </p:txBody>
      </p:sp>
      <p:sp>
        <p:nvSpPr>
          <p:cNvPr id="6451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Arial" pitchFamily="34" charset="0"/>
              </a:rPr>
              <a:t>PRISM FY11</a:t>
            </a:r>
          </a:p>
        </p:txBody>
      </p:sp>
      <p:sp>
        <p:nvSpPr>
          <p:cNvPr id="64517"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F0EFF35-E785-40F0-9C83-B687506400F4}" type="datetime1">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1/2019</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p:txBody>
      </p:sp>
      <p:sp>
        <p:nvSpPr>
          <p:cNvPr id="64518"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 2010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br>
            <a:r>
              <a:rPr kumimoji="0" lang="en-US" altLang="en-US" sz="1200" b="0"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MICROSOFT MAKES NO WARRANTIES, EXPRESS, IMPLIED OR STATUTORY, AS TO THE INFORMATION IN THIS PRESENTATION.</a:t>
            </a:r>
          </a:p>
        </p:txBody>
      </p:sp>
      <p:sp>
        <p:nvSpPr>
          <p:cNvPr id="64519"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81812D8-BB45-4D69-9868-BB353EFA0157}"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n-ea"/>
              <a:cs typeface="Arial" pitchFamily="34" charset="0"/>
            </a:endParaRPr>
          </a:p>
        </p:txBody>
      </p:sp>
    </p:spTree>
    <p:extLst>
      <p:ext uri="{BB962C8B-B14F-4D97-AF65-F5344CB8AC3E}">
        <p14:creationId xmlns:p14="http://schemas.microsoft.com/office/powerpoint/2010/main" val="93733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4E6B7-616A-4EF3-8159-8521F030C17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479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 cybersecurity “personas” for a few minutes. If you understand who your threats are, where they are coming from and their </a:t>
            </a:r>
            <a:r>
              <a:rPr lang="en-US" b="1" dirty="0"/>
              <a:t>motivations</a:t>
            </a:r>
            <a:r>
              <a:rPr lang="en-US" dirty="0"/>
              <a:t>, you are in a much better position to defend against them.</a:t>
            </a:r>
          </a:p>
          <a:p>
            <a:r>
              <a:rPr lang="en-US" dirty="0"/>
              <a:t>•        First are </a:t>
            </a:r>
            <a:r>
              <a:rPr lang="en-US" b="1" dirty="0"/>
              <a:t>cybercriminals whose motivation is financial</a:t>
            </a:r>
            <a:r>
              <a:rPr lang="en-US" dirty="0"/>
              <a:t>—their objective is to make profit; they typically operate in a slow bleed manner to go undetected. Their transactions target banking software and services such as the SWIFT system. </a:t>
            </a:r>
          </a:p>
          <a:p>
            <a:r>
              <a:rPr lang="en-US" dirty="0"/>
              <a:t>•        Next there are </a:t>
            </a:r>
            <a:r>
              <a:rPr lang="en-US" b="1" dirty="0"/>
              <a:t>Nation-State actors</a:t>
            </a:r>
            <a:r>
              <a:rPr lang="en-US" dirty="0"/>
              <a:t>. Their objective is to </a:t>
            </a:r>
            <a:r>
              <a:rPr lang="en-US" b="1" dirty="0"/>
              <a:t>disrupt operations</a:t>
            </a:r>
            <a:r>
              <a:rPr lang="en-US" dirty="0"/>
              <a:t>, </a:t>
            </a:r>
            <a:r>
              <a:rPr lang="en-US" b="1" dirty="0"/>
              <a:t>conduct espionage </a:t>
            </a:r>
            <a:r>
              <a:rPr lang="en-US" dirty="0"/>
              <a:t>against corporations, or </a:t>
            </a:r>
            <a:r>
              <a:rPr lang="en-US" b="1" dirty="0"/>
              <a:t>steal secrets </a:t>
            </a:r>
            <a:r>
              <a:rPr lang="en-US" dirty="0"/>
              <a:t>from other governments. They have recently stepped up </a:t>
            </a:r>
            <a:r>
              <a:rPr lang="en-US" b="1" dirty="0"/>
              <a:t>supply chain poisoning </a:t>
            </a:r>
            <a:r>
              <a:rPr lang="en-US" dirty="0"/>
              <a:t>such as update software, and their approach is often an </a:t>
            </a:r>
            <a:r>
              <a:rPr lang="en-US" b="1" dirty="0"/>
              <a:t>Advanced Persistent Threat </a:t>
            </a:r>
            <a:r>
              <a:rPr lang="en-US" dirty="0"/>
              <a:t>where they use supercomputing power to break credentials. They also get into a system through </a:t>
            </a:r>
            <a:r>
              <a:rPr lang="en-US" b="1" dirty="0"/>
              <a:t>hyper-targeted phishing attacks</a:t>
            </a:r>
            <a:r>
              <a:rPr lang="en-US" dirty="0"/>
              <a:t>.</a:t>
            </a:r>
          </a:p>
          <a:p>
            <a:r>
              <a:rPr lang="en-US" dirty="0"/>
              <a:t>•        Third are </a:t>
            </a:r>
            <a:r>
              <a:rPr lang="en-US" b="1" dirty="0"/>
              <a:t>Hacktivists</a:t>
            </a:r>
            <a:r>
              <a:rPr lang="en-US" dirty="0"/>
              <a:t>—their objectives are </a:t>
            </a:r>
            <a:r>
              <a:rPr lang="en-US" b="1" dirty="0"/>
              <a:t>disruption and chaos </a:t>
            </a:r>
            <a:r>
              <a:rPr lang="en-US" dirty="0"/>
              <a:t>targeting specific organizations, </a:t>
            </a:r>
            <a:r>
              <a:rPr lang="en-US" b="1" dirty="0"/>
              <a:t>DDoS attacks</a:t>
            </a:r>
            <a:r>
              <a:rPr lang="en-US" dirty="0"/>
              <a:t>, </a:t>
            </a:r>
            <a:r>
              <a:rPr lang="en-US" b="1" dirty="0"/>
              <a:t>vulnerability exploits, </a:t>
            </a:r>
            <a:r>
              <a:rPr lang="en-US" dirty="0"/>
              <a:t>and </a:t>
            </a:r>
            <a:r>
              <a:rPr lang="en-US" b="1" dirty="0"/>
              <a:t>defacing online presences.</a:t>
            </a:r>
            <a:endParaRPr lang="en-US" dirty="0"/>
          </a:p>
          <a:p>
            <a:r>
              <a:rPr lang="en-US" dirty="0"/>
              <a:t>•        Lastly is the</a:t>
            </a:r>
            <a:r>
              <a:rPr lang="en-US" b="1" dirty="0"/>
              <a:t> Insider</a:t>
            </a:r>
            <a:r>
              <a:rPr lang="en-US" dirty="0"/>
              <a:t>, a particularly insidious threat—they can have any of a number of objectives, but mostly they are </a:t>
            </a:r>
            <a:r>
              <a:rPr lang="en-US" b="1" dirty="0"/>
              <a:t>opportunistic; </a:t>
            </a:r>
            <a:r>
              <a:rPr lang="en-US" dirty="0"/>
              <a:t>their efforts can target individuals or teams.</a:t>
            </a:r>
          </a:p>
          <a:p>
            <a:r>
              <a:rPr lang="en-US" dirty="0"/>
              <a:t> </a:t>
            </a:r>
          </a:p>
          <a:p>
            <a:r>
              <a:rPr lang="en-US" dirty="0"/>
              <a:t>(Note to presenters: you don’t need to cover all these points; just pick a couple key ones. We are providing a short note on each threat actor for your reference so you are prepared.)</a:t>
            </a:r>
          </a:p>
          <a:p>
            <a:pPr marL="0" indent="0">
              <a:buFont typeface="Arial" panose="020B0604020202020204" pitchFamily="34" charset="0"/>
              <a:buNone/>
            </a:pPr>
            <a:endParaRPr lang="en-US" b="0" baseline="0" dirty="0"/>
          </a:p>
          <a:p>
            <a:endParaRPr lang="en-US" b="0" baseline="0" dirty="0"/>
          </a:p>
          <a:p>
            <a:pPr marL="171422" indent="-171422">
              <a:buFont typeface="Arial" panose="020B0604020202020204" pitchFamily="34" charset="0"/>
              <a:buChar char="•"/>
            </a:pPr>
            <a:endParaRPr lang="en-US" b="0" baseline="0" dirty="0">
              <a:sym typeface="Wingdings" panose="05000000000000000000" pitchFamily="2" charset="2"/>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1" y="8831581"/>
            <a:ext cx="6052311" cy="361896"/>
          </a:xfrm>
          <a:prstGeom prst="rect">
            <a:avLst/>
          </a:prstGeom>
        </p:spPr>
        <p:txBody>
          <a:bodyPr lIns="91425" tIns="45712" rIns="91425" bIns="45712"/>
          <a:lstStyle/>
          <a:p>
            <a:pPr marL="57150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04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79BAED7-DAEE-4D8E-9E13-02B552A7FA7D}"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1/20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258509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6.emf"/><Relationship Id="rId4" Type="http://schemas.openxmlformats.org/officeDocument/2006/relationships/oleObject" Target="../embeddings/oleObject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6.emf"/><Relationship Id="rId4" Type="http://schemas.openxmlformats.org/officeDocument/2006/relationships/oleObject" Target="../embeddings/oleObject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6.emf"/><Relationship Id="rId4" Type="http://schemas.openxmlformats.org/officeDocument/2006/relationships/oleObject" Target="../embeddings/oleObject7.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image" Target="../media/image34.jpeg"/><Relationship Id="rId1" Type="http://schemas.openxmlformats.org/officeDocument/2006/relationships/slideMaster" Target="../slideMasters/slideMaster9.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emf"/><Relationship Id="rId4" Type="http://schemas.openxmlformats.org/officeDocument/2006/relationships/image" Target="../media/image7.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cenes">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A1F0EA1-8EE4-4241-A453-2ED7B139E2A1}"/>
              </a:ext>
            </a:extLst>
          </p:cNvPr>
          <p:cNvSpPr/>
          <p:nvPr userDrawn="1"/>
        </p:nvSpPr>
        <p:spPr bwMode="auto">
          <a:xfrm>
            <a:off x="6540499" y="0"/>
            <a:ext cx="5651500" cy="6858000"/>
          </a:xfrm>
          <a:prstGeom prst="rect">
            <a:avLst/>
          </a:prstGeom>
          <a:blipFill>
            <a:blip r:embed="rId2"/>
            <a:srcRect/>
            <a:stretch>
              <a:fillRect l="-58057" r="-58057"/>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FD7D4721-ECE3-4E29-B4F6-5869EF8DCCDC}"/>
              </a:ext>
            </a:extLst>
          </p:cNvPr>
          <p:cNvSpPr/>
          <p:nvPr userDrawn="1"/>
        </p:nvSpPr>
        <p:spPr bwMode="auto">
          <a:xfrm>
            <a:off x="6540500" y="0"/>
            <a:ext cx="5651500"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MS logo gray - EMF" descr="Microsoft logo, gray text version">
            <a:extLst>
              <a:ext uri="{FF2B5EF4-FFF2-40B4-BE49-F238E27FC236}">
                <a16:creationId xmlns:a16="http://schemas.microsoft.com/office/drawing/2014/main" id="{FAB28B98-4026-460D-94B6-D009FA2AB812}"/>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24" name="Title 1">
            <a:extLst>
              <a:ext uri="{FF2B5EF4-FFF2-40B4-BE49-F238E27FC236}">
                <a16:creationId xmlns:a16="http://schemas.microsoft.com/office/drawing/2014/main" id="{935A4F88-4052-4251-9832-3D8AA59FF737}"/>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25" name="Text Placeholder 4">
            <a:extLst>
              <a:ext uri="{FF2B5EF4-FFF2-40B4-BE49-F238E27FC236}">
                <a16:creationId xmlns:a16="http://schemas.microsoft.com/office/drawing/2014/main" id="{BAAEA26F-8EF6-45FB-8055-AC3C827E51A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30" name="Rectangle 29">
            <a:extLst>
              <a:ext uri="{FF2B5EF4-FFF2-40B4-BE49-F238E27FC236}">
                <a16:creationId xmlns:a16="http://schemas.microsoft.com/office/drawing/2014/main" id="{4C2A9EE8-463D-4464-991F-610C49032B29}"/>
              </a:ext>
            </a:extLst>
          </p:cNvPr>
          <p:cNvSpPr/>
          <p:nvPr userDrawn="1"/>
        </p:nvSpPr>
        <p:spPr bwMode="auto">
          <a:xfrm>
            <a:off x="6978650" y="358718"/>
            <a:ext cx="4775200" cy="6140564"/>
          </a:xfrm>
          <a:prstGeom prst="rect">
            <a:avLst/>
          </a:prstGeom>
          <a:blipFill>
            <a:blip r:embed="rId2"/>
            <a:srcRect/>
            <a:stretch>
              <a:fillRect l="-64509" r="-64509"/>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34">
            <a:extLst>
              <a:ext uri="{FF2B5EF4-FFF2-40B4-BE49-F238E27FC236}">
                <a16:creationId xmlns:a16="http://schemas.microsoft.com/office/drawing/2014/main" id="{55672EA4-D2B4-4A08-B16C-DBA2A4DEEC43}"/>
              </a:ext>
              <a:ext uri="{C183D7F6-B498-43B3-948B-1728B52AA6E4}">
                <adec:decorative xmlns:adec="http://schemas.microsoft.com/office/drawing/2017/decorative" val="1"/>
              </a:ext>
            </a:extLst>
          </p:cNvPr>
          <p:cNvGrpSpPr/>
          <p:nvPr userDrawn="1"/>
        </p:nvGrpSpPr>
        <p:grpSpPr>
          <a:xfrm>
            <a:off x="6541770" y="3636226"/>
            <a:ext cx="5650230" cy="195488"/>
            <a:chOff x="6541770" y="3636226"/>
            <a:chExt cx="5650230" cy="195488"/>
          </a:xfrm>
          <a:solidFill>
            <a:schemeClr val="accent1">
              <a:alpha val="50000"/>
            </a:schemeClr>
          </a:solidFill>
        </p:grpSpPr>
        <p:sp>
          <p:nvSpPr>
            <p:cNvPr id="36" name="Rectangle 35">
              <a:extLst>
                <a:ext uri="{FF2B5EF4-FFF2-40B4-BE49-F238E27FC236}">
                  <a16:creationId xmlns:a16="http://schemas.microsoft.com/office/drawing/2014/main" id="{A9726984-CA54-4CF4-A565-BC54F03CA6E7}"/>
                </a:ext>
              </a:extLst>
            </p:cNvPr>
            <p:cNvSpPr/>
            <p:nvPr/>
          </p:nvSpPr>
          <p:spPr bwMode="auto">
            <a:xfrm>
              <a:off x="6979920" y="3636226"/>
              <a:ext cx="4773929" cy="130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1ADBE700-9AC3-488F-B132-9405746EAD07}"/>
                </a:ext>
              </a:extLst>
            </p:cNvPr>
            <p:cNvSpPr/>
            <p:nvPr/>
          </p:nvSpPr>
          <p:spPr bwMode="auto">
            <a:xfrm>
              <a:off x="11753850" y="3701539"/>
              <a:ext cx="438150" cy="130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2C2D41EE-31A8-459D-B78F-A57B1601CAD9}"/>
                </a:ext>
              </a:extLst>
            </p:cNvPr>
            <p:cNvSpPr/>
            <p:nvPr/>
          </p:nvSpPr>
          <p:spPr bwMode="auto">
            <a:xfrm>
              <a:off x="6541770" y="3701539"/>
              <a:ext cx="438150" cy="130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174309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00588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90063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714624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969764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467397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80805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65958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5139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3">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8839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8989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Icons with photos">
    <p:spTree>
      <p:nvGrpSpPr>
        <p:cNvPr id="1" name=""/>
        <p:cNvGrpSpPr/>
        <p:nvPr/>
      </p:nvGrpSpPr>
      <p:grpSpPr>
        <a:xfrm>
          <a:off x="0" y="0"/>
          <a:ext cx="0" cy="0"/>
          <a:chOff x="0" y="0"/>
          <a:chExt cx="0" cy="0"/>
        </a:xfrm>
      </p:grpSpPr>
      <p:sp>
        <p:nvSpPr>
          <p:cNvPr id="70" name="Picture Placeholder 69">
            <a:extLst>
              <a:ext uri="{FF2B5EF4-FFF2-40B4-BE49-F238E27FC236}">
                <a16:creationId xmlns:a16="http://schemas.microsoft.com/office/drawing/2014/main" id="{C30B49AB-AC3B-4CAE-A16F-17DB437A9B49}"/>
              </a:ext>
            </a:extLst>
          </p:cNvPr>
          <p:cNvSpPr>
            <a:spLocks noGrp="1"/>
          </p:cNvSpPr>
          <p:nvPr>
            <p:ph type="pic" sz="quarter" idx="10" hasCustomPrompt="1"/>
          </p:nvPr>
        </p:nvSpPr>
        <p:spPr>
          <a:xfrm>
            <a:off x="769938" y="1915433"/>
            <a:ext cx="3395662" cy="339725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dirty="0"/>
              <a:t>Drag &amp; drop your photo here or click or tap icon below to insert</a:t>
            </a:r>
          </a:p>
        </p:txBody>
      </p:sp>
      <p:sp>
        <p:nvSpPr>
          <p:cNvPr id="71" name="Picture Placeholder 69">
            <a:extLst>
              <a:ext uri="{FF2B5EF4-FFF2-40B4-BE49-F238E27FC236}">
                <a16:creationId xmlns:a16="http://schemas.microsoft.com/office/drawing/2014/main" id="{97B0983B-B9A5-4DA1-B4D1-96C4140806FA}"/>
              </a:ext>
            </a:extLst>
          </p:cNvPr>
          <p:cNvSpPr>
            <a:spLocks noGrp="1"/>
          </p:cNvSpPr>
          <p:nvPr>
            <p:ph type="pic" sz="quarter" idx="11" hasCustomPrompt="1"/>
          </p:nvPr>
        </p:nvSpPr>
        <p:spPr>
          <a:xfrm>
            <a:off x="4398169" y="1915433"/>
            <a:ext cx="3395662" cy="339725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dirty="0"/>
              <a:t>Drag &amp; drop your photo here or click or tap icon below to insert</a:t>
            </a:r>
          </a:p>
        </p:txBody>
      </p:sp>
      <p:sp>
        <p:nvSpPr>
          <p:cNvPr id="72" name="Picture Placeholder 69">
            <a:extLst>
              <a:ext uri="{FF2B5EF4-FFF2-40B4-BE49-F238E27FC236}">
                <a16:creationId xmlns:a16="http://schemas.microsoft.com/office/drawing/2014/main" id="{78EB6EAC-84A7-4D38-BF59-F8A1B6DF537B}"/>
              </a:ext>
            </a:extLst>
          </p:cNvPr>
          <p:cNvSpPr>
            <a:spLocks noGrp="1"/>
          </p:cNvSpPr>
          <p:nvPr>
            <p:ph type="pic" sz="quarter" idx="12" hasCustomPrompt="1"/>
          </p:nvPr>
        </p:nvSpPr>
        <p:spPr>
          <a:xfrm>
            <a:off x="8055769" y="1915433"/>
            <a:ext cx="3395662" cy="339725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dirty="0"/>
              <a:t>Drag &amp; drop your photo here or click or tap icon below to insert</a:t>
            </a:r>
          </a:p>
        </p:txBody>
      </p:sp>
      <p:sp>
        <p:nvSpPr>
          <p:cNvPr id="68" name="Freeform: Shape 67">
            <a:extLst>
              <a:ext uri="{FF2B5EF4-FFF2-40B4-BE49-F238E27FC236}">
                <a16:creationId xmlns:a16="http://schemas.microsoft.com/office/drawing/2014/main" id="{CB9DEB7D-7804-4629-BEE5-485925985A51}"/>
              </a:ext>
            </a:extLst>
          </p:cNvPr>
          <p:cNvSpPr/>
          <p:nvPr userDrawn="1"/>
        </p:nvSpPr>
        <p:spPr bwMode="auto">
          <a:xfrm>
            <a:off x="1248229" y="2423887"/>
            <a:ext cx="2380342" cy="2380342"/>
          </a:xfrm>
          <a:custGeom>
            <a:avLst/>
            <a:gdLst>
              <a:gd name="connsiteX0" fmla="*/ 1756229 w 3512458"/>
              <a:gd name="connsiteY0" fmla="*/ 0 h 3512458"/>
              <a:gd name="connsiteX1" fmla="*/ 3512458 w 3512458"/>
              <a:gd name="connsiteY1" fmla="*/ 1756229 h 3512458"/>
              <a:gd name="connsiteX2" fmla="*/ 1756229 w 3512458"/>
              <a:gd name="connsiteY2" fmla="*/ 3512458 h 3512458"/>
              <a:gd name="connsiteX3" fmla="*/ 0 w 3512458"/>
              <a:gd name="connsiteY3" fmla="*/ 1756229 h 3512458"/>
              <a:gd name="connsiteX4" fmla="*/ 1756229 w 3512458"/>
              <a:gd name="connsiteY4" fmla="*/ 0 h 351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458" h="3512458">
                <a:moveTo>
                  <a:pt x="1756229" y="0"/>
                </a:moveTo>
                <a:cubicBezTo>
                  <a:pt x="2726167" y="0"/>
                  <a:pt x="3512458" y="786291"/>
                  <a:pt x="3512458" y="1756229"/>
                </a:cubicBezTo>
                <a:cubicBezTo>
                  <a:pt x="3512458" y="2726167"/>
                  <a:pt x="2726167" y="3512458"/>
                  <a:pt x="1756229" y="3512458"/>
                </a:cubicBezTo>
                <a:cubicBezTo>
                  <a:pt x="786291" y="3512458"/>
                  <a:pt x="0" y="2726167"/>
                  <a:pt x="0" y="1756229"/>
                </a:cubicBezTo>
                <a:cubicBezTo>
                  <a:pt x="0" y="786291"/>
                  <a:pt x="786291" y="0"/>
                  <a:pt x="175622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C9AF5598-A7CB-48A2-8E64-CD251F2ED87E}"/>
              </a:ext>
            </a:extLst>
          </p:cNvPr>
          <p:cNvSpPr/>
          <p:nvPr userDrawn="1"/>
        </p:nvSpPr>
        <p:spPr bwMode="auto">
          <a:xfrm>
            <a:off x="4905829" y="2423887"/>
            <a:ext cx="2380342" cy="2380342"/>
          </a:xfrm>
          <a:custGeom>
            <a:avLst/>
            <a:gdLst>
              <a:gd name="connsiteX0" fmla="*/ 1756229 w 3512458"/>
              <a:gd name="connsiteY0" fmla="*/ 0 h 3512458"/>
              <a:gd name="connsiteX1" fmla="*/ 3512458 w 3512458"/>
              <a:gd name="connsiteY1" fmla="*/ 1756229 h 3512458"/>
              <a:gd name="connsiteX2" fmla="*/ 1756229 w 3512458"/>
              <a:gd name="connsiteY2" fmla="*/ 3512458 h 3512458"/>
              <a:gd name="connsiteX3" fmla="*/ 0 w 3512458"/>
              <a:gd name="connsiteY3" fmla="*/ 1756229 h 3512458"/>
              <a:gd name="connsiteX4" fmla="*/ 1756229 w 3512458"/>
              <a:gd name="connsiteY4" fmla="*/ 0 h 351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458" h="3512458">
                <a:moveTo>
                  <a:pt x="1756229" y="0"/>
                </a:moveTo>
                <a:cubicBezTo>
                  <a:pt x="2726167" y="0"/>
                  <a:pt x="3512458" y="786291"/>
                  <a:pt x="3512458" y="1756229"/>
                </a:cubicBezTo>
                <a:cubicBezTo>
                  <a:pt x="3512458" y="2726167"/>
                  <a:pt x="2726167" y="3512458"/>
                  <a:pt x="1756229" y="3512458"/>
                </a:cubicBezTo>
                <a:cubicBezTo>
                  <a:pt x="786291" y="3512458"/>
                  <a:pt x="0" y="2726167"/>
                  <a:pt x="0" y="1756229"/>
                </a:cubicBezTo>
                <a:cubicBezTo>
                  <a:pt x="0" y="786291"/>
                  <a:pt x="786291" y="0"/>
                  <a:pt x="175622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58645959-0F18-407F-A5C9-6F429719F131}"/>
              </a:ext>
            </a:extLst>
          </p:cNvPr>
          <p:cNvSpPr/>
          <p:nvPr userDrawn="1"/>
        </p:nvSpPr>
        <p:spPr bwMode="auto">
          <a:xfrm>
            <a:off x="8563429" y="2423887"/>
            <a:ext cx="2380342" cy="2380342"/>
          </a:xfrm>
          <a:custGeom>
            <a:avLst/>
            <a:gdLst>
              <a:gd name="connsiteX0" fmla="*/ 1756229 w 3512458"/>
              <a:gd name="connsiteY0" fmla="*/ 0 h 3512458"/>
              <a:gd name="connsiteX1" fmla="*/ 3512458 w 3512458"/>
              <a:gd name="connsiteY1" fmla="*/ 1756229 h 3512458"/>
              <a:gd name="connsiteX2" fmla="*/ 1756229 w 3512458"/>
              <a:gd name="connsiteY2" fmla="*/ 3512458 h 3512458"/>
              <a:gd name="connsiteX3" fmla="*/ 0 w 3512458"/>
              <a:gd name="connsiteY3" fmla="*/ 1756229 h 3512458"/>
              <a:gd name="connsiteX4" fmla="*/ 1756229 w 3512458"/>
              <a:gd name="connsiteY4" fmla="*/ 0 h 351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458" h="3512458">
                <a:moveTo>
                  <a:pt x="1756229" y="0"/>
                </a:moveTo>
                <a:cubicBezTo>
                  <a:pt x="2726167" y="0"/>
                  <a:pt x="3512458" y="786291"/>
                  <a:pt x="3512458" y="1756229"/>
                </a:cubicBezTo>
                <a:cubicBezTo>
                  <a:pt x="3512458" y="2726167"/>
                  <a:pt x="2726167" y="3512458"/>
                  <a:pt x="1756229" y="3512458"/>
                </a:cubicBezTo>
                <a:cubicBezTo>
                  <a:pt x="786291" y="3512458"/>
                  <a:pt x="0" y="2726167"/>
                  <a:pt x="0" y="1756229"/>
                </a:cubicBezTo>
                <a:cubicBezTo>
                  <a:pt x="0" y="786291"/>
                  <a:pt x="786291" y="0"/>
                  <a:pt x="1756229"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Title 72">
            <a:extLst>
              <a:ext uri="{FF2B5EF4-FFF2-40B4-BE49-F238E27FC236}">
                <a16:creationId xmlns:a16="http://schemas.microsoft.com/office/drawing/2014/main" id="{A48064AB-7E8F-484F-9C23-B3E2D57212B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14929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03142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8150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defTabSz="913927">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74074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396513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2"/>
            <a:ext cx="11655840" cy="2840637"/>
          </a:xfrm>
        </p:spPr>
        <p:txBody>
          <a:bodyPr anchor="ctr"/>
          <a:lstStyle>
            <a:lvl1pPr algn="l">
              <a:defRPr sz="8627" baseline="0">
                <a:gradFill>
                  <a:gsLst>
                    <a:gs pos="13139">
                      <a:srgbClr val="FFFFFF"/>
                    </a:gs>
                    <a:gs pos="45000">
                      <a:srgbClr val="FFFFFF"/>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41747873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4666606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6598638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3_Section Title Light Purple">
    <p:bg>
      <p:bgPr>
        <a:solidFill>
          <a:schemeClr val="bg2">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2051401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6">
            <a:lumMod val="75000"/>
          </a:schemeClr>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39" y="2084172"/>
            <a:ext cx="11653523" cy="2574423"/>
          </a:xfrm>
        </p:spPr>
        <p:txBody>
          <a:bodyPr anchor="t" anchorCtr="0">
            <a:spAutoFit/>
          </a:bodyPr>
          <a:lstStyle>
            <a:lvl1pPr>
              <a:defRPr sz="8627">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25983586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accent3">
            <a:lumMod val="5000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39" y="3078165"/>
            <a:ext cx="3223861"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algn="l" defTabSz="913924" eaLnBrk="0" hangingPunct="0"/>
            <a:r>
              <a:rPr lang="en-US" sz="686" dirty="0">
                <a:solidFill>
                  <a:schemeClr val="bg1"/>
                </a:solidFill>
                <a:cs typeface="Segoe UI" pitchFamily="34" charset="0"/>
              </a:rPr>
              <a:t>© 2015 Microsoft Corporation. All rights reserved. Microsoft, Windows, and other product names are or may be registered trademarks and/or trademarks in the U.S. and/or other countries.</a:t>
            </a:r>
          </a:p>
          <a:p>
            <a:pPr algn="l" defTabSz="913924" eaLnBrk="0" hangingPunct="0"/>
            <a:r>
              <a:rPr lang="en-US" sz="686"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620231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ed slide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DFF419-8286-4B5B-A4CA-0DF7BC130AE3}"/>
              </a:ext>
            </a:extLst>
          </p:cNvPr>
          <p:cNvSpPr>
            <a:spLocks noGrp="1"/>
          </p:cNvSpPr>
          <p:nvPr>
            <p:ph type="body" sz="quarter" idx="11" hasCustomPrompt="1"/>
          </p:nvPr>
        </p:nvSpPr>
        <p:spPr>
          <a:xfrm>
            <a:off x="584200" y="2025650"/>
            <a:ext cx="4162425" cy="1107996"/>
          </a:xfrm>
        </p:spPr>
        <p:txBody>
          <a:bodyPr/>
          <a:lstStyle>
            <a:lvl1pPr marL="0" indent="0" algn="l" defTabSz="932742" rtl="0" eaLnBrk="1" latinLnBrk="0" hangingPunct="1">
              <a:lnSpc>
                <a:spcPct val="100000"/>
              </a:lnSpc>
              <a:spcBef>
                <a:spcPct val="0"/>
              </a:spcBef>
              <a:buNone/>
              <a:defRPr lang="en-US" sz="3600" b="0" kern="1200" cap="none" spc="-49" baseline="0" dirty="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dirty="0"/>
              <a:t>Bulleted </a:t>
            </a:r>
            <a:br>
              <a:rPr lang="en-US" dirty="0"/>
            </a:br>
            <a:r>
              <a:rPr lang="en-US" dirty="0"/>
              <a:t>slide layout</a:t>
            </a:r>
          </a:p>
        </p:txBody>
      </p:sp>
      <p:sp>
        <p:nvSpPr>
          <p:cNvPr id="4" name="Text Placeholder 3">
            <a:extLst>
              <a:ext uri="{FF2B5EF4-FFF2-40B4-BE49-F238E27FC236}">
                <a16:creationId xmlns:a16="http://schemas.microsoft.com/office/drawing/2014/main" id="{2EB020B3-EFB9-4E6C-A27B-B1B5DA1AAD89}"/>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9" name="Content Placeholder 8">
            <a:extLst>
              <a:ext uri="{FF2B5EF4-FFF2-40B4-BE49-F238E27FC236}">
                <a16:creationId xmlns:a16="http://schemas.microsoft.com/office/drawing/2014/main" id="{DC3DFA45-111E-4290-814E-5E0441289D0F}"/>
              </a:ext>
            </a:extLst>
          </p:cNvPr>
          <p:cNvSpPr>
            <a:spLocks noGrp="1"/>
          </p:cNvSpPr>
          <p:nvPr>
            <p:ph sz="quarter" idx="12" hasCustomPrompt="1"/>
          </p:nvPr>
        </p:nvSpPr>
        <p:spPr>
          <a:xfrm>
            <a:off x="6096000" y="652463"/>
            <a:ext cx="640080" cy="640080"/>
          </a:xfrm>
          <a:prstGeom prst="ellipse">
            <a:avLst/>
          </a:prstGeom>
          <a:solidFill>
            <a:schemeClr val="bg2"/>
          </a:solidFill>
        </p:spPr>
        <p:txBody>
          <a:bodyPr anchor="ctr" anchorCtr="0">
            <a:noAutofit/>
          </a:bodyPr>
          <a:lstStyle>
            <a:lvl1pPr marL="0" indent="0" algn="ctr">
              <a:buNone/>
              <a:defRPr sz="800">
                <a:noFill/>
              </a:defRPr>
            </a:lvl1pPr>
          </a:lstStyle>
          <a:p>
            <a:pPr lvl="0"/>
            <a:r>
              <a:rPr lang="en-US" dirty="0"/>
              <a:t>Icon</a:t>
            </a:r>
          </a:p>
        </p:txBody>
      </p:sp>
      <p:sp>
        <p:nvSpPr>
          <p:cNvPr id="12" name="Text Placeholder 3">
            <a:extLst>
              <a:ext uri="{FF2B5EF4-FFF2-40B4-BE49-F238E27FC236}">
                <a16:creationId xmlns:a16="http://schemas.microsoft.com/office/drawing/2014/main" id="{BCE8FBCC-0C6A-4B8D-8151-32C82B866162}"/>
              </a:ext>
            </a:extLst>
          </p:cNvPr>
          <p:cNvSpPr>
            <a:spLocks noGrp="1"/>
          </p:cNvSpPr>
          <p:nvPr>
            <p:ph type="body" sz="quarter" idx="15"/>
          </p:nvPr>
        </p:nvSpPr>
        <p:spPr>
          <a:xfrm>
            <a:off x="6997699" y="652463"/>
            <a:ext cx="4382951"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8">
            <a:extLst>
              <a:ext uri="{FF2B5EF4-FFF2-40B4-BE49-F238E27FC236}">
                <a16:creationId xmlns:a16="http://schemas.microsoft.com/office/drawing/2014/main" id="{D75AA816-3C55-4742-8837-8455FBCBC35C}"/>
              </a:ext>
            </a:extLst>
          </p:cNvPr>
          <p:cNvSpPr>
            <a:spLocks noGrp="1"/>
          </p:cNvSpPr>
          <p:nvPr>
            <p:ph sz="quarter" idx="16" hasCustomPrompt="1"/>
          </p:nvPr>
        </p:nvSpPr>
        <p:spPr>
          <a:xfrm>
            <a:off x="6096000" y="2417763"/>
            <a:ext cx="640080" cy="640080"/>
          </a:xfrm>
          <a:prstGeom prst="ellipse">
            <a:avLst/>
          </a:prstGeom>
          <a:solidFill>
            <a:schemeClr val="bg2"/>
          </a:solidFill>
        </p:spPr>
        <p:txBody>
          <a:bodyPr anchor="ctr" anchorCtr="0">
            <a:noAutofit/>
          </a:bodyPr>
          <a:lstStyle>
            <a:lvl1pPr marL="0" indent="0" algn="ctr">
              <a:buNone/>
              <a:defRPr sz="800">
                <a:noFill/>
              </a:defRPr>
            </a:lvl1pPr>
          </a:lstStyle>
          <a:p>
            <a:pPr lvl="0"/>
            <a:r>
              <a:rPr lang="en-US" dirty="0"/>
              <a:t>Icon</a:t>
            </a:r>
          </a:p>
        </p:txBody>
      </p:sp>
      <p:sp>
        <p:nvSpPr>
          <p:cNvPr id="18" name="Text Placeholder 3">
            <a:extLst>
              <a:ext uri="{FF2B5EF4-FFF2-40B4-BE49-F238E27FC236}">
                <a16:creationId xmlns:a16="http://schemas.microsoft.com/office/drawing/2014/main" id="{FCF0223D-CF75-4E5E-84F2-8010A845E8EF}"/>
              </a:ext>
            </a:extLst>
          </p:cNvPr>
          <p:cNvSpPr>
            <a:spLocks noGrp="1"/>
          </p:cNvSpPr>
          <p:nvPr>
            <p:ph type="body" sz="quarter" idx="17"/>
          </p:nvPr>
        </p:nvSpPr>
        <p:spPr>
          <a:xfrm>
            <a:off x="6997699" y="2417763"/>
            <a:ext cx="4382951"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8">
            <a:extLst>
              <a:ext uri="{FF2B5EF4-FFF2-40B4-BE49-F238E27FC236}">
                <a16:creationId xmlns:a16="http://schemas.microsoft.com/office/drawing/2014/main" id="{9F9ADA69-0526-488F-A572-4613565A916E}"/>
              </a:ext>
            </a:extLst>
          </p:cNvPr>
          <p:cNvSpPr>
            <a:spLocks noGrp="1"/>
          </p:cNvSpPr>
          <p:nvPr>
            <p:ph sz="quarter" idx="18" hasCustomPrompt="1"/>
          </p:nvPr>
        </p:nvSpPr>
        <p:spPr>
          <a:xfrm>
            <a:off x="6096000" y="4183063"/>
            <a:ext cx="640080" cy="640080"/>
          </a:xfrm>
          <a:prstGeom prst="ellipse">
            <a:avLst/>
          </a:prstGeom>
          <a:solidFill>
            <a:schemeClr val="bg2"/>
          </a:solidFill>
        </p:spPr>
        <p:txBody>
          <a:bodyPr anchor="ctr" anchorCtr="0">
            <a:noAutofit/>
          </a:bodyPr>
          <a:lstStyle>
            <a:lvl1pPr marL="0" indent="0" algn="ctr">
              <a:buNone/>
              <a:defRPr sz="800">
                <a:noFill/>
              </a:defRPr>
            </a:lvl1pPr>
          </a:lstStyle>
          <a:p>
            <a:pPr lvl="0"/>
            <a:r>
              <a:rPr lang="en-US" dirty="0"/>
              <a:t>Icon</a:t>
            </a:r>
          </a:p>
        </p:txBody>
      </p:sp>
      <p:sp>
        <p:nvSpPr>
          <p:cNvPr id="20" name="Text Placeholder 3">
            <a:extLst>
              <a:ext uri="{FF2B5EF4-FFF2-40B4-BE49-F238E27FC236}">
                <a16:creationId xmlns:a16="http://schemas.microsoft.com/office/drawing/2014/main" id="{A041FBC1-C7C4-4BEE-965D-2AD75188AF0D}"/>
              </a:ext>
            </a:extLst>
          </p:cNvPr>
          <p:cNvSpPr>
            <a:spLocks noGrp="1"/>
          </p:cNvSpPr>
          <p:nvPr>
            <p:ph type="body" sz="quarter" idx="19"/>
          </p:nvPr>
        </p:nvSpPr>
        <p:spPr>
          <a:xfrm>
            <a:off x="6997699" y="4183063"/>
            <a:ext cx="4382951"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696271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algn="l"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algn="l" defTabSz="913924" eaLnBrk="0" hangingPunct="0"/>
            <a:r>
              <a:rPr lang="en-US" sz="686"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8816201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8"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411249201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3">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78192448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5095189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bg2">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33152007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119540308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a:t>Title</a:t>
            </a:r>
          </a:p>
        </p:txBody>
      </p:sp>
      <p:sp>
        <p:nvSpPr>
          <p:cNvPr id="10" name="Subtitle 2"/>
          <p:cNvSpPr>
            <a:spLocks noGrp="1"/>
          </p:cNvSpPr>
          <p:nvPr>
            <p:ph type="subTitle" idx="1" hasCustomPrompt="1"/>
          </p:nvPr>
        </p:nvSpPr>
        <p:spPr>
          <a:xfrm>
            <a:off x="591640" y="3877277"/>
            <a:ext cx="10989732" cy="48340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89636636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61149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89511"/>
            <a:ext cx="11655840" cy="734157"/>
          </a:xfrm>
        </p:spPr>
        <p:txBody>
          <a:bodyPr/>
          <a:lstStyle>
            <a:lvl1pPr>
              <a:defRPr sz="4000"/>
            </a:lvl1pPr>
          </a:lstStyle>
          <a:p>
            <a:r>
              <a:rPr lang="en-US" dirty="0"/>
              <a:t>Click to edit Master title style</a:t>
            </a:r>
          </a:p>
        </p:txBody>
      </p:sp>
      <p:sp>
        <p:nvSpPr>
          <p:cNvPr id="4" name="Text Placeholder 3"/>
          <p:cNvSpPr>
            <a:spLocks noGrp="1"/>
          </p:cNvSpPr>
          <p:nvPr>
            <p:ph type="body" sz="quarter" idx="10"/>
          </p:nvPr>
        </p:nvSpPr>
        <p:spPr>
          <a:xfrm>
            <a:off x="269876" y="936625"/>
            <a:ext cx="11655425" cy="572464"/>
          </a:xfrm>
        </p:spPr>
        <p:txBody>
          <a:bodyPr/>
          <a:lstStyle>
            <a:lvl1pPr marL="0" indent="0">
              <a:buNone/>
              <a:defRPr sz="2800">
                <a:solidFill>
                  <a:schemeClr val="bg1">
                    <a:lumMod val="50000"/>
                  </a:schemeClr>
                </a:solidFill>
              </a:defRPr>
            </a:lvl1pPr>
            <a:lvl2pPr marL="336080" indent="0">
              <a:buNone/>
              <a:defRPr sz="2800">
                <a:solidFill>
                  <a:schemeClr val="accent1"/>
                </a:solidFill>
              </a:defRPr>
            </a:lvl2pPr>
            <a:lvl3pPr marL="560134" indent="0">
              <a:buNone/>
              <a:defRPr sz="2800">
                <a:solidFill>
                  <a:schemeClr val="accent1"/>
                </a:solidFill>
              </a:defRPr>
            </a:lvl3pPr>
            <a:lvl4pPr marL="784187" indent="0">
              <a:buNone/>
              <a:defRPr sz="2800">
                <a:solidFill>
                  <a:schemeClr val="accent1"/>
                </a:solidFill>
              </a:defRPr>
            </a:lvl4pPr>
            <a:lvl5pPr marL="1008241" indent="0">
              <a:buNone/>
              <a:defRPr sz="2800">
                <a:solidFill>
                  <a:schemeClr val="accent1"/>
                </a:solidFill>
              </a:defRPr>
            </a:lvl5pPr>
          </a:lstStyle>
          <a:p>
            <a:pPr lvl="0"/>
            <a:r>
              <a:rPr lang="en-US" dirty="0"/>
              <a:t>Click to edit Master text styles</a:t>
            </a:r>
          </a:p>
        </p:txBody>
      </p:sp>
    </p:spTree>
    <p:extLst>
      <p:ext uri="{BB962C8B-B14F-4D97-AF65-F5344CB8AC3E}">
        <p14:creationId xmlns:p14="http://schemas.microsoft.com/office/powerpoint/2010/main" val="313626799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3048" y="0"/>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23"/>
          <p:cNvSpPr/>
          <p:nvPr userDrawn="1"/>
        </p:nvSpPr>
        <p:spPr bwMode="auto">
          <a:xfrm>
            <a:off x="0" y="0"/>
            <a:ext cx="10153146" cy="6858000"/>
          </a:xfrm>
          <a:custGeom>
            <a:avLst/>
            <a:gdLst>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3429708 w 10153146"/>
              <a:gd name="connsiteY4" fmla="*/ 0 h 6858000"/>
              <a:gd name="connsiteX5" fmla="*/ 10153146 w 10153146"/>
              <a:gd name="connsiteY5" fmla="*/ 0 h 6858000"/>
              <a:gd name="connsiteX6" fmla="*/ 8692118 w 10153146"/>
              <a:gd name="connsiteY6" fmla="*/ 6858000 h 6858000"/>
              <a:gd name="connsiteX7" fmla="*/ 3429708 w 10153146"/>
              <a:gd name="connsiteY7" fmla="*/ 6858000 h 6858000"/>
              <a:gd name="connsiteX8" fmla="*/ 3313859 w 10153146"/>
              <a:gd name="connsiteY8" fmla="*/ 6858000 h 6858000"/>
              <a:gd name="connsiteX9" fmla="*/ 2046514 w 10153146"/>
              <a:gd name="connsiteY9" fmla="*/ 6858000 h 6858000"/>
              <a:gd name="connsiteX10" fmla="*/ 1862165 w 10153146"/>
              <a:gd name="connsiteY10" fmla="*/ 6858000 h 6858000"/>
              <a:gd name="connsiteX11" fmla="*/ 0 w 10153146"/>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146" h="6858000">
                <a:moveTo>
                  <a:pt x="0" y="0"/>
                </a:moveTo>
                <a:lnTo>
                  <a:pt x="1862165" y="0"/>
                </a:lnTo>
                <a:lnTo>
                  <a:pt x="2046514" y="0"/>
                </a:lnTo>
                <a:lnTo>
                  <a:pt x="3313859" y="0"/>
                </a:lnTo>
                <a:lnTo>
                  <a:pt x="3429708" y="0"/>
                </a:lnTo>
                <a:lnTo>
                  <a:pt x="10153146" y="0"/>
                </a:lnTo>
                <a:lnTo>
                  <a:pt x="8692118" y="6858000"/>
                </a:lnTo>
                <a:lnTo>
                  <a:pt x="3429708" y="6858000"/>
                </a:lnTo>
                <a:lnTo>
                  <a:pt x="3313859" y="6858000"/>
                </a:lnTo>
                <a:lnTo>
                  <a:pt x="2046514" y="6858000"/>
                </a:lnTo>
                <a:lnTo>
                  <a:pt x="1862165" y="6858000"/>
                </a:lnTo>
                <a:lnTo>
                  <a:pt x="0" y="685800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rgbClr val="000000"/>
              </a:solidFill>
            </a:endParaRPr>
          </a:p>
        </p:txBody>
      </p:sp>
      <p:sp>
        <p:nvSpPr>
          <p:cNvPr id="25" name="Freeform 24"/>
          <p:cNvSpPr>
            <a:spLocks/>
          </p:cNvSpPr>
          <p:nvPr userDrawn="1"/>
        </p:nvSpPr>
        <p:spPr bwMode="auto">
          <a:xfrm flipH="1" flipV="1">
            <a:off x="0" y="0"/>
            <a:ext cx="8778917" cy="6858000"/>
          </a:xfrm>
          <a:custGeom>
            <a:avLst/>
            <a:gdLst>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732403 w 8778917"/>
              <a:gd name="connsiteY8" fmla="*/ 0 h 6858000"/>
              <a:gd name="connsiteX9" fmla="*/ 6839287 w 8778917"/>
              <a:gd name="connsiteY9" fmla="*/ 0 h 6858000"/>
              <a:gd name="connsiteX10" fmla="*/ 8290981 w 8778917"/>
              <a:gd name="connsiteY10" fmla="*/ 0 h 6858000"/>
              <a:gd name="connsiteX11" fmla="*/ 8778917 w 877891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78917" h="6858000">
                <a:moveTo>
                  <a:pt x="8778917" y="6858000"/>
                </a:moveTo>
                <a:lnTo>
                  <a:pt x="8290981" y="6858000"/>
                </a:lnTo>
                <a:lnTo>
                  <a:pt x="6839287" y="6858000"/>
                </a:lnTo>
                <a:lnTo>
                  <a:pt x="6732403" y="6858000"/>
                </a:lnTo>
                <a:lnTo>
                  <a:pt x="6723438" y="6858000"/>
                </a:lnTo>
                <a:lnTo>
                  <a:pt x="0" y="6858000"/>
                </a:lnTo>
                <a:lnTo>
                  <a:pt x="1461028" y="0"/>
                </a:lnTo>
                <a:lnTo>
                  <a:pt x="6723438" y="0"/>
                </a:lnTo>
                <a:lnTo>
                  <a:pt x="6732403" y="0"/>
                </a:lnTo>
                <a:lnTo>
                  <a:pt x="6839287" y="0"/>
                </a:lnTo>
                <a:lnTo>
                  <a:pt x="8290981" y="0"/>
                </a:lnTo>
                <a:lnTo>
                  <a:pt x="8778917" y="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rgbClr val="000000"/>
              </a:solidFill>
            </a:endParaRPr>
          </a:p>
        </p:txBody>
      </p:sp>
      <p:sp>
        <p:nvSpPr>
          <p:cNvPr id="19" name="Freeform 18"/>
          <p:cNvSpPr>
            <a:spLocks/>
          </p:cNvSpPr>
          <p:nvPr userDrawn="1"/>
        </p:nvSpPr>
        <p:spPr bwMode="auto">
          <a:xfrm flipH="1" flipV="1">
            <a:off x="-1" y="0"/>
            <a:ext cx="8290981" cy="6858000"/>
          </a:xfrm>
          <a:custGeom>
            <a:avLst/>
            <a:gdLst>
              <a:gd name="connsiteX0" fmla="*/ 8290981 w 8290981"/>
              <a:gd name="connsiteY0" fmla="*/ 6858000 h 6858000"/>
              <a:gd name="connsiteX1" fmla="*/ 6839287 w 8290981"/>
              <a:gd name="connsiteY1" fmla="*/ 6858000 h 6858000"/>
              <a:gd name="connsiteX2" fmla="*/ 6723438 w 8290981"/>
              <a:gd name="connsiteY2" fmla="*/ 6858000 h 6858000"/>
              <a:gd name="connsiteX3" fmla="*/ 0 w 8290981"/>
              <a:gd name="connsiteY3" fmla="*/ 6858000 h 6858000"/>
              <a:gd name="connsiteX4" fmla="*/ 1461028 w 8290981"/>
              <a:gd name="connsiteY4" fmla="*/ 0 h 6858000"/>
              <a:gd name="connsiteX5" fmla="*/ 6723438 w 8290981"/>
              <a:gd name="connsiteY5" fmla="*/ 0 h 6858000"/>
              <a:gd name="connsiteX6" fmla="*/ 6839287 w 8290981"/>
              <a:gd name="connsiteY6" fmla="*/ 0 h 6858000"/>
              <a:gd name="connsiteX7" fmla="*/ 8290981 w 829098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90981" h="6858000">
                <a:moveTo>
                  <a:pt x="8290981" y="6858000"/>
                </a:moveTo>
                <a:lnTo>
                  <a:pt x="6839287" y="6858000"/>
                </a:lnTo>
                <a:lnTo>
                  <a:pt x="6723438" y="6858000"/>
                </a:lnTo>
                <a:lnTo>
                  <a:pt x="0" y="6858000"/>
                </a:lnTo>
                <a:lnTo>
                  <a:pt x="1461028" y="0"/>
                </a:lnTo>
                <a:lnTo>
                  <a:pt x="6723438" y="0"/>
                </a:lnTo>
                <a:lnTo>
                  <a:pt x="6839287" y="0"/>
                </a:lnTo>
                <a:lnTo>
                  <a:pt x="8290981" y="0"/>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1"/>
          <p:cNvSpPr>
            <a:spLocks noGrp="1"/>
          </p:cNvSpPr>
          <p:nvPr>
            <p:ph type="title" hasCustomPrompt="1"/>
          </p:nvPr>
        </p:nvSpPr>
        <p:spPr bwMode="auto">
          <a:xfrm>
            <a:off x="366271" y="2205464"/>
            <a:ext cx="6987030" cy="2438400"/>
          </a:xfrm>
          <a:noFill/>
        </p:spPr>
        <p:txBody>
          <a:bodyPr lIns="195067" tIns="121917" rIns="195067" bIns="121917" anchor="t" anchorCtr="0"/>
          <a:lstStyle>
            <a:lvl1pPr>
              <a:defRPr sz="5400"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8" y="4050993"/>
            <a:ext cx="6989234" cy="1057328"/>
          </a:xfrm>
          <a:noFill/>
        </p:spPr>
        <p:txBody>
          <a:bodyPr tIns="146300" bIns="146300">
            <a:noAutofit/>
          </a:bodyPr>
          <a:lstStyle>
            <a:lvl1pPr marL="0" indent="0">
              <a:spcBef>
                <a:spcPts val="0"/>
              </a:spcBef>
              <a:buNone/>
              <a:defRPr sz="2400">
                <a:solidFill>
                  <a:srgbClr val="FFFFFF"/>
                </a:solidFill>
              </a:defRPr>
            </a:lvl1pPr>
          </a:lstStyle>
          <a:p>
            <a:pPr lvl="0"/>
            <a:r>
              <a:rPr lang="en-US" dirty="0"/>
              <a:t>Speaker Name</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518987" y="6368028"/>
            <a:ext cx="1304123" cy="285764"/>
          </a:xfrm>
          <a:prstGeom prst="rect">
            <a:avLst/>
          </a:prstGeom>
        </p:spPr>
      </p:pic>
      <p:sp>
        <p:nvSpPr>
          <p:cNvPr id="13" name="TextBox 12"/>
          <p:cNvSpPr txBox="1"/>
          <p:nvPr userDrawn="1"/>
        </p:nvSpPr>
        <p:spPr>
          <a:xfrm>
            <a:off x="364067" y="6419582"/>
            <a:ext cx="2606040" cy="182880"/>
          </a:xfrm>
          <a:prstGeom prst="rect">
            <a:avLst/>
          </a:prstGeom>
          <a:noFill/>
        </p:spPr>
        <p:txBody>
          <a:bodyPr wrap="none" lIns="182880" tIns="146304" rIns="182880" bIns="146304" rtlCol="0" anchor="ctr">
            <a:noAutofit/>
          </a:bodyPr>
          <a:lstStyle/>
          <a:p>
            <a:pPr algn="l">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3612402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hoto layou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36C4F04-8404-4FD1-B67E-78D978D4C694}"/>
              </a:ext>
            </a:extLst>
          </p:cNvPr>
          <p:cNvSpPr/>
          <p:nvPr userDrawn="1"/>
        </p:nvSpPr>
        <p:spPr bwMode="auto">
          <a:xfrm>
            <a:off x="6489700" y="311150"/>
            <a:ext cx="5232400" cy="62357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6C86C99-6C0C-41C3-9018-8738F6329FA3}"/>
              </a:ext>
            </a:extLst>
          </p:cNvPr>
          <p:cNvSpPr>
            <a:spLocks noGrp="1"/>
          </p:cNvSpPr>
          <p:nvPr>
            <p:ph type="pic" sz="quarter" idx="11" hasCustomPrompt="1"/>
          </p:nvPr>
        </p:nvSpPr>
        <p:spPr>
          <a:xfrm>
            <a:off x="6718300" y="0"/>
            <a:ext cx="4775200" cy="6858000"/>
          </a:xfrm>
          <a:blipFill>
            <a:blip r:embed="rId2" cstate="screen">
              <a:extLst>
                <a:ext uri="{28A0092B-C50C-407E-A947-70E740481C1C}">
                  <a14:useLocalDpi xmlns:a14="http://schemas.microsoft.com/office/drawing/2010/main"/>
                </a:ext>
              </a:extLst>
            </a:blip>
            <a:srcRect/>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0" y="2579648"/>
            <a:ext cx="4161981" cy="553998"/>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2330953979"/>
      </p:ext>
    </p:extLst>
  </p:cSld>
  <p:clrMapOvr>
    <a:masterClrMapping/>
  </p:clrMapOvr>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Slide 1_Animated">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0" y="0"/>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a:spLocks/>
          </p:cNvSpPr>
          <p:nvPr userDrawn="1"/>
        </p:nvSpPr>
        <p:spPr bwMode="auto">
          <a:xfrm>
            <a:off x="6530249" y="-1"/>
            <a:ext cx="8081101" cy="6858002"/>
          </a:xfrm>
          <a:custGeom>
            <a:avLst/>
            <a:gdLst>
              <a:gd name="connsiteX0" fmla="*/ 1457721 w 8081101"/>
              <a:gd name="connsiteY0" fmla="*/ 0 h 6858002"/>
              <a:gd name="connsiteX1" fmla="*/ 8081101 w 8081101"/>
              <a:gd name="connsiteY1" fmla="*/ 0 h 6858002"/>
              <a:gd name="connsiteX2" fmla="*/ 8081101 w 8081101"/>
              <a:gd name="connsiteY2" fmla="*/ 6858002 h 6858002"/>
              <a:gd name="connsiteX3" fmla="*/ 0 w 808110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8081101" h="6858002">
                <a:moveTo>
                  <a:pt x="1457721" y="0"/>
                </a:moveTo>
                <a:lnTo>
                  <a:pt x="8081101" y="0"/>
                </a:lnTo>
                <a:lnTo>
                  <a:pt x="8081101" y="6858002"/>
                </a:lnTo>
                <a:lnTo>
                  <a:pt x="0" y="6858002"/>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1"/>
          <p:cNvSpPr>
            <a:spLocks noGrp="1"/>
          </p:cNvSpPr>
          <p:nvPr>
            <p:ph type="title" hasCustomPrompt="1"/>
          </p:nvPr>
        </p:nvSpPr>
        <p:spPr bwMode="auto">
          <a:xfrm>
            <a:off x="6815251" y="2459504"/>
            <a:ext cx="4496016" cy="1914361"/>
          </a:xfrm>
          <a:noFill/>
        </p:spPr>
        <p:txBody>
          <a:bodyPr lIns="195067" tIns="121917" rIns="195067" bIns="121917" anchor="t" anchorCtr="0"/>
          <a:lstStyle>
            <a:lvl1pPr>
              <a:defRPr sz="6000" spc="-133" baseline="0">
                <a:solidFill>
                  <a:srgbClr val="FFFFFF"/>
                </a:solidFill>
                <a:latin typeface="Segoe UI Light"/>
                <a:cs typeface="Segoe UI Light"/>
              </a:defRPr>
            </a:lvl1pPr>
          </a:lstStyle>
          <a:p>
            <a:r>
              <a:rPr lang="en-US" dirty="0"/>
              <a:t>Click to edit title</a:t>
            </a:r>
          </a:p>
        </p:txBody>
      </p:sp>
      <p:sp>
        <p:nvSpPr>
          <p:cNvPr id="21" name="Text Placeholder 5"/>
          <p:cNvSpPr>
            <a:spLocks noGrp="1"/>
          </p:cNvSpPr>
          <p:nvPr>
            <p:ph type="body" sz="quarter" idx="13"/>
          </p:nvPr>
        </p:nvSpPr>
        <p:spPr>
          <a:xfrm>
            <a:off x="6815251" y="4366353"/>
            <a:ext cx="4496016"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1869296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1">
                                            <p:txEl>
                                              <p:pRg st="0" end="0"/>
                                            </p:txEl>
                                          </p:spTgt>
                                        </p:tgtEl>
                                        <p:attrNameLst>
                                          <p:attrName>style.visibility</p:attrName>
                                        </p:attrNameLst>
                                      </p:cBhvr>
                                      <p:to>
                                        <p:strVal val="visible"/>
                                      </p:to>
                                    </p:set>
                                    <p:animEffect transition="in" filter="fade">
                                      <p:cBhvr>
                                        <p:cTn id="10" dur="500"/>
                                        <p:tgtEl>
                                          <p:spTgt spid="21">
                                            <p:txEl>
                                              <p:pRg st="0" end="0"/>
                                            </p:txEl>
                                          </p:spTgt>
                                        </p:tgtEl>
                                      </p:cBhvr>
                                    </p:animEffect>
                                  </p:childTnLst>
                                </p:cTn>
                              </p:par>
                              <p:par>
                                <p:cTn id="11" presetID="35" presetClass="path" presetSubtype="0" accel="50000" decel="50000" fill="hold" grpId="0" nodeType="withEffect">
                                  <p:stCondLst>
                                    <p:cond delay="0"/>
                                  </p:stCondLst>
                                  <p:childTnLst>
                                    <p:animMotion origin="layout" path="M 2.70833E-6 0 L -0.08972 0 " pathEditMode="relative" rAng="0" ptsTypes="AA">
                                      <p:cBhvr>
                                        <p:cTn id="12" dur="1000" fill="hold"/>
                                        <p:tgtEl>
                                          <p:spTgt spid="20"/>
                                        </p:tgtEl>
                                        <p:attrNameLst>
                                          <p:attrName>ppt_x</p:attrName>
                                          <p:attrName>ppt_y</p:attrName>
                                        </p:attrNameLst>
                                      </p:cBhvr>
                                      <p:rCtr x="-449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7" grpId="0"/>
      <p:bldP spid="21" grpId="0" build="p">
        <p:tmplLst>
          <p:tmpl lvl="1">
            <p:tnLst>
              <p:par>
                <p:cTn presetID="10" presetClass="entr" presetSubtype="0" fill="hold" nodeType="withEffect">
                  <p:stCondLst>
                    <p:cond delay="50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Slide 1_Not Animate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0" y="0"/>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7"/>
          <p:cNvSpPr>
            <a:spLocks/>
          </p:cNvSpPr>
          <p:nvPr userDrawn="1"/>
        </p:nvSpPr>
        <p:spPr bwMode="auto">
          <a:xfrm>
            <a:off x="5430791" y="-1"/>
            <a:ext cx="6761209" cy="6858002"/>
          </a:xfrm>
          <a:custGeom>
            <a:avLst/>
            <a:gdLst>
              <a:gd name="connsiteX0" fmla="*/ 1457721 w 6761209"/>
              <a:gd name="connsiteY0" fmla="*/ 0 h 6858002"/>
              <a:gd name="connsiteX1" fmla="*/ 6761209 w 6761209"/>
              <a:gd name="connsiteY1" fmla="*/ 0 h 6858002"/>
              <a:gd name="connsiteX2" fmla="*/ 6761209 w 6761209"/>
              <a:gd name="connsiteY2" fmla="*/ 6858002 h 6858002"/>
              <a:gd name="connsiteX3" fmla="*/ 0 w 6761209"/>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761209" h="6858002">
                <a:moveTo>
                  <a:pt x="1457721" y="0"/>
                </a:moveTo>
                <a:lnTo>
                  <a:pt x="6761209" y="0"/>
                </a:lnTo>
                <a:lnTo>
                  <a:pt x="6761209" y="6858002"/>
                </a:lnTo>
                <a:lnTo>
                  <a:pt x="0" y="6858002"/>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1"/>
          <p:cNvSpPr>
            <a:spLocks noGrp="1"/>
          </p:cNvSpPr>
          <p:nvPr>
            <p:ph type="title" hasCustomPrompt="1"/>
          </p:nvPr>
        </p:nvSpPr>
        <p:spPr bwMode="auto">
          <a:xfrm>
            <a:off x="6815251" y="2459504"/>
            <a:ext cx="4496016" cy="1914361"/>
          </a:xfrm>
          <a:noFill/>
        </p:spPr>
        <p:txBody>
          <a:bodyPr lIns="195067" tIns="121917" rIns="195067" bIns="121917" anchor="t" anchorCtr="0"/>
          <a:lstStyle>
            <a:lvl1pPr>
              <a:defRPr sz="6000" spc="-133" baseline="0">
                <a:solidFill>
                  <a:srgbClr val="FFFFFF"/>
                </a:solidFill>
                <a:latin typeface="Segoe UI Light"/>
                <a:cs typeface="Segoe UI Light"/>
              </a:defRPr>
            </a:lvl1pPr>
          </a:lstStyle>
          <a:p>
            <a:r>
              <a:rPr lang="en-US" dirty="0"/>
              <a:t>Click to edit title</a:t>
            </a:r>
          </a:p>
        </p:txBody>
      </p:sp>
      <p:sp>
        <p:nvSpPr>
          <p:cNvPr id="6" name="Text Placeholder 5"/>
          <p:cNvSpPr>
            <a:spLocks noGrp="1"/>
          </p:cNvSpPr>
          <p:nvPr>
            <p:ph type="body" sz="quarter" idx="13"/>
          </p:nvPr>
        </p:nvSpPr>
        <p:spPr>
          <a:xfrm>
            <a:off x="6815251" y="4366353"/>
            <a:ext cx="4496016"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73714793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vider Slide 2_Animated">
    <p:spTree>
      <p:nvGrpSpPr>
        <p:cNvPr id="1" name=""/>
        <p:cNvGrpSpPr/>
        <p:nvPr/>
      </p:nvGrpSpPr>
      <p:grpSpPr>
        <a:xfrm>
          <a:off x="0" y="0"/>
          <a:ext cx="0" cy="0"/>
          <a:chOff x="0" y="0"/>
          <a:chExt cx="0" cy="0"/>
        </a:xfrm>
      </p:grpSpPr>
      <p:sp>
        <p:nvSpPr>
          <p:cNvPr id="15" name="Freeform 14"/>
          <p:cNvSpPr>
            <a:spLocks/>
          </p:cNvSpPr>
          <p:nvPr/>
        </p:nvSpPr>
        <p:spPr bwMode="auto">
          <a:xfrm>
            <a:off x="948599" y="0"/>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6" name="Text Placeholder 5"/>
          <p:cNvSpPr>
            <a:spLocks noGrp="1"/>
          </p:cNvSpPr>
          <p:nvPr>
            <p:ph type="body" sz="quarter" idx="13"/>
          </p:nvPr>
        </p:nvSpPr>
        <p:spPr>
          <a:xfrm>
            <a:off x="2771141" y="4366353"/>
            <a:ext cx="8963660"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770827" y="3428999"/>
            <a:ext cx="8963973" cy="927940"/>
          </a:xfrm>
          <a:prstGeom prst="rect">
            <a:avLst/>
          </a:prstGeom>
        </p:spPr>
        <p:txBody>
          <a:bodyPr/>
          <a:lstStyle>
            <a:lvl1pPr algn="l">
              <a:defRPr sz="5400">
                <a:solidFill>
                  <a:schemeClr val="bg1"/>
                </a:solidFill>
              </a:defRPr>
            </a:lvl1pPr>
          </a:lstStyle>
          <a:p>
            <a:r>
              <a:rPr lang="en-US"/>
              <a:t>Click to edit Master title style</a:t>
            </a:r>
            <a:endParaRPr lang="en-US" dirty="0"/>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271037570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withEffect">
                                  <p:stCondLst>
                                    <p:cond delay="0"/>
                                  </p:stCondLst>
                                  <p:childTnLst>
                                    <p:animMotion origin="layout" path="M -2.29167E-6 0 L 0.05599 0 " pathEditMode="relative" rAng="0" ptsTypes="AA">
                                      <p:cBhvr>
                                        <p:cTn id="6" dur="1000" fill="hold"/>
                                        <p:tgtEl>
                                          <p:spTgt spid="15"/>
                                        </p:tgtEl>
                                        <p:attrNameLst>
                                          <p:attrName>ppt_x</p:attrName>
                                          <p:attrName>ppt_y</p:attrName>
                                        </p:attrNameLst>
                                      </p:cBhvr>
                                      <p:rCtr x="2799" y="0"/>
                                    </p:animMotion>
                                  </p:childTnLst>
                                </p:cTn>
                              </p:par>
                              <p:par>
                                <p:cTn id="7" presetID="2" presetClass="entr" presetSubtype="2" decel="10000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anim calcmode="lin" valueType="num">
                                      <p:cBhvr additive="base">
                                        <p:cTn id="9" dur="10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10" dur="1000" fill="hold"/>
                                        <p:tgtEl>
                                          <p:spTgt spid="6">
                                            <p:txEl>
                                              <p:pRg st="0" end="0"/>
                                            </p:txEl>
                                          </p:spTgt>
                                        </p:tgtEl>
                                        <p:attrNameLst>
                                          <p:attrName>ppt_y</p:attrName>
                                        </p:attrNameLst>
                                      </p:cBhvr>
                                      <p:tavLst>
                                        <p:tav tm="0">
                                          <p:val>
                                            <p:strVal val="#ppt_y"/>
                                          </p:val>
                                        </p:tav>
                                        <p:tav tm="100000">
                                          <p:val>
                                            <p:strVal val="#ppt_y"/>
                                          </p:val>
                                        </p:tav>
                                      </p:tavLst>
                                    </p:anim>
                                  </p:childTnLst>
                                </p:cTn>
                              </p:par>
                              <p:par>
                                <p:cTn id="11" presetID="2" presetClass="entr" presetSubtype="2" decel="10000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fill="hold"/>
                                        <p:tgtEl>
                                          <p:spTgt spid="7"/>
                                        </p:tgtEl>
                                        <p:attrNameLst>
                                          <p:attrName>ppt_x</p:attrName>
                                        </p:attrNameLst>
                                      </p:cBhvr>
                                      <p:tavLst>
                                        <p:tav tm="0">
                                          <p:val>
                                            <p:strVal val="1+#ppt_w/2"/>
                                          </p:val>
                                        </p:tav>
                                        <p:tav tm="100000">
                                          <p:val>
                                            <p:strVal val="#ppt_x"/>
                                          </p:val>
                                        </p:tav>
                                      </p:tavLst>
                                    </p:anim>
                                    <p:anim calcmode="lin" valueType="num">
                                      <p:cBhvr additive="base">
                                        <p:cTn id="14"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6" grpId="0" build="p">
        <p:tmplLst>
          <p:tmpl lvl="1">
            <p:tnLst>
              <p:par>
                <p:cTn presetID="2" presetClass="entr" presetSubtype="2" decel="100000"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1+#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P spid="7" grpId="0"/>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r Slide 2_Not Animated">
    <p:spTree>
      <p:nvGrpSpPr>
        <p:cNvPr id="1" name=""/>
        <p:cNvGrpSpPr/>
        <p:nvPr/>
      </p:nvGrpSpPr>
      <p:grpSpPr>
        <a:xfrm>
          <a:off x="0" y="0"/>
          <a:ext cx="0" cy="0"/>
          <a:chOff x="0" y="0"/>
          <a:chExt cx="0" cy="0"/>
        </a:xfrm>
      </p:grpSpPr>
      <p:sp>
        <p:nvSpPr>
          <p:cNvPr id="11" name="Freeform 10"/>
          <p:cNvSpPr>
            <a:spLocks/>
          </p:cNvSpPr>
          <p:nvPr/>
        </p:nvSpPr>
        <p:spPr bwMode="auto">
          <a:xfrm>
            <a:off x="1630774" y="-1"/>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6" name="Text Placeholder 5"/>
          <p:cNvSpPr>
            <a:spLocks noGrp="1"/>
          </p:cNvSpPr>
          <p:nvPr userDrawn="1">
            <p:ph type="body" sz="quarter" idx="13"/>
          </p:nvPr>
        </p:nvSpPr>
        <p:spPr>
          <a:xfrm>
            <a:off x="2771141" y="4366353"/>
            <a:ext cx="8963660"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userDrawn="1">
            <p:ph type="title"/>
          </p:nvPr>
        </p:nvSpPr>
        <p:spPr>
          <a:xfrm>
            <a:off x="2770827" y="3428999"/>
            <a:ext cx="8963973" cy="927940"/>
          </a:xfrm>
          <a:prstGeom prst="rect">
            <a:avLst/>
          </a:prstGeom>
        </p:spPr>
        <p:txBody>
          <a:bodyPr/>
          <a:lstStyle>
            <a:lvl1pPr algn="l">
              <a:defRPr sz="5400">
                <a:solidFill>
                  <a:schemeClr val="bg1"/>
                </a:solidFill>
              </a:defRPr>
            </a:lvl1pPr>
          </a:lstStyle>
          <a:p>
            <a:r>
              <a:rPr lang="en-US"/>
              <a:t>Click to edit Master title style</a:t>
            </a:r>
            <a:endParaRPr lang="en-US" dirty="0"/>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210110919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rge Title and Content">
    <p:spTree>
      <p:nvGrpSpPr>
        <p:cNvPr id="1" name=""/>
        <p:cNvGrpSpPr/>
        <p:nvPr/>
      </p:nvGrpSpPr>
      <p:grpSpPr>
        <a:xfrm>
          <a:off x="0" y="0"/>
          <a:ext cx="0" cy="0"/>
          <a:chOff x="0" y="0"/>
          <a:chExt cx="0" cy="0"/>
        </a:xfrm>
      </p:grpSpPr>
      <p:sp>
        <p:nvSpPr>
          <p:cNvPr id="17" name="Freeform 16"/>
          <p:cNvSpPr/>
          <p:nvPr userDrawn="1"/>
        </p:nvSpPr>
        <p:spPr bwMode="auto">
          <a:xfrm>
            <a:off x="0" y="0"/>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3033073" cy="2012859"/>
          </a:xfrm>
          <a:prstGeom prst="rect">
            <a:avLst/>
          </a:prstGeom>
        </p:spPr>
        <p:txBody>
          <a:bodyPr>
            <a:spAutoFit/>
          </a:bodyPr>
          <a:lstStyle>
            <a:lvl1pPr algn="l">
              <a:defRPr sz="4400">
                <a:solidFill>
                  <a:schemeClr val="bg1"/>
                </a:solidFill>
              </a:defRPr>
            </a:lvl1pPr>
          </a:lstStyle>
          <a:p>
            <a:r>
              <a:rPr lang="en-US"/>
              <a:t>Click to edit Master title style</a:t>
            </a:r>
            <a:endParaRPr lang="en-US" dirty="0"/>
          </a:p>
        </p:txBody>
      </p:sp>
      <p:sp>
        <p:nvSpPr>
          <p:cNvPr id="12"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3" name="Content Placeholder 2"/>
          <p:cNvSpPr>
            <a:spLocks noGrp="1"/>
          </p:cNvSpPr>
          <p:nvPr>
            <p:ph sz="quarter" idx="16"/>
          </p:nvPr>
        </p:nvSpPr>
        <p:spPr>
          <a:xfrm>
            <a:off x="4136528" y="742950"/>
            <a:ext cx="7785597" cy="5372100"/>
          </a:xfrm>
        </p:spPr>
        <p:txBody>
          <a:bodyPr/>
          <a:lstStyle>
            <a:lvl1pPr marL="0" indent="0">
              <a:spcBef>
                <a:spcPts val="1200"/>
              </a:spcBef>
              <a:buNone/>
              <a:defRPr sz="3200"/>
            </a:lvl1pPr>
            <a:lvl2pPr marL="0" indent="0">
              <a:spcBef>
                <a:spcPts val="1200"/>
              </a:spcBef>
              <a:buNone/>
              <a:defRPr sz="2000"/>
            </a:lvl2pPr>
            <a:lvl3pPr marL="560241" indent="0">
              <a:buNone/>
              <a:defRPr sz="1800"/>
            </a:lvl3pPr>
          </a:lstStyle>
          <a:p>
            <a:pPr lvl="0"/>
            <a:r>
              <a:rPr lang="en-US"/>
              <a:t>Edit Master text styles</a:t>
            </a:r>
          </a:p>
          <a:p>
            <a:pPr lvl="1"/>
            <a:r>
              <a:rPr lang="en-US"/>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416883074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5372100"/>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Edit Master text styles</a:t>
            </a:r>
          </a:p>
          <a:p>
            <a:pPr lvl="1"/>
            <a:r>
              <a:rPr lang="en-US"/>
              <a:t>Second level</a:t>
            </a:r>
          </a:p>
        </p:txBody>
      </p:sp>
      <p:sp>
        <p:nvSpPr>
          <p:cNvPr id="14" name="TextBox 13"/>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49987017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mall Title and 2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a:t>Edit Master text styles</a:t>
            </a:r>
          </a:p>
          <a:p>
            <a:pPr lvl="1"/>
            <a:r>
              <a:rPr lang="en-US"/>
              <a:t>Second level</a:t>
            </a:r>
          </a:p>
        </p:txBody>
      </p:sp>
      <p:sp>
        <p:nvSpPr>
          <p:cNvPr id="14" name="Content Placeholder 2"/>
          <p:cNvSpPr>
            <a:spLocks noGrp="1"/>
          </p:cNvSpPr>
          <p:nvPr>
            <p:ph sz="quarter" idx="17"/>
          </p:nvPr>
        </p:nvSpPr>
        <p:spPr>
          <a:xfrm>
            <a:off x="7571058"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a:t>Edit Master text styles</a:t>
            </a:r>
          </a:p>
          <a:p>
            <a:pPr lvl="1"/>
            <a:r>
              <a:rPr lang="en-US"/>
              <a:t>Second level</a:t>
            </a:r>
          </a:p>
        </p:txBody>
      </p:sp>
      <p:sp>
        <p:nvSpPr>
          <p:cNvPr id="15" name="TextBox 1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293669235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mall Title and Content with Label">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6" name="Rectangle 5"/>
          <p:cNvSpPr/>
          <p:nvPr userDrawn="1"/>
        </p:nvSpPr>
        <p:spPr>
          <a:xfrm>
            <a:off x="0" y="5712984"/>
            <a:ext cx="1905001" cy="625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ctr"/>
            <a:endParaRPr lang="en-US" dirty="0" err="1">
              <a:ln>
                <a:solidFill>
                  <a:srgbClr val="FFFFFF">
                    <a:alpha val="0"/>
                  </a:srgbClr>
                </a:solidFill>
              </a:ln>
              <a:solidFill>
                <a:srgbClr val="FFFFFF"/>
              </a:solidFill>
            </a:endParaRPr>
          </a:p>
        </p:txBody>
      </p:sp>
      <p:sp>
        <p:nvSpPr>
          <p:cNvPr id="2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25" name="Text Placeholder 5"/>
          <p:cNvSpPr>
            <a:spLocks noGrp="1"/>
          </p:cNvSpPr>
          <p:nvPr>
            <p:ph type="body" sz="quarter" idx="13"/>
          </p:nvPr>
        </p:nvSpPr>
        <p:spPr>
          <a:xfrm>
            <a:off x="95667" y="5803735"/>
            <a:ext cx="1695034" cy="444665"/>
          </a:xfrm>
          <a:prstGeom prst="rect">
            <a:avLst/>
          </a:prstGeom>
        </p:spPr>
        <p:txBody>
          <a:bodyPr lIns="91440" tIns="91440" rIns="91440" bIns="91440" anchor="ctr" anchorCtr="0"/>
          <a:lstStyle>
            <a:lvl1pPr marL="0" indent="0">
              <a:buNone/>
              <a:defRPr lang="en-US" sz="1600" kern="1200" spc="0" dirty="0">
                <a:ln w="3175">
                  <a:noFill/>
                </a:ln>
                <a:solidFill>
                  <a:srgbClr val="505050"/>
                </a:solidFill>
                <a:latin typeface="+mn-lt"/>
                <a:ea typeface="ＭＳ Ｐゴシック" charset="0"/>
                <a:cs typeface="Segoe UI" pitchFamily="34" charset="0"/>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26"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endParaRPr lang="en-US" dirty="0"/>
          </a:p>
        </p:txBody>
      </p:sp>
      <p:sp>
        <p:nvSpPr>
          <p:cNvPr id="27" name="Content Placeholder 2"/>
          <p:cNvSpPr>
            <a:spLocks noGrp="1"/>
          </p:cNvSpPr>
          <p:nvPr>
            <p:ph sz="quarter" idx="16"/>
          </p:nvPr>
        </p:nvSpPr>
        <p:spPr>
          <a:xfrm>
            <a:off x="3047516" y="742950"/>
            <a:ext cx="8874610" cy="5372100"/>
          </a:xfrm>
        </p:spPr>
        <p:txBody>
          <a:bodyPr/>
          <a:lstStyle>
            <a:lvl1pPr marL="0" indent="0">
              <a:spcBef>
                <a:spcPts val="1200"/>
              </a:spcBef>
              <a:buNone/>
              <a:defRPr sz="2800"/>
            </a:lvl1pPr>
            <a:lvl2pPr>
              <a:spcBef>
                <a:spcPts val="1200"/>
              </a:spcBef>
              <a:defRPr sz="2000"/>
            </a:lvl2pPr>
            <a:lvl3pPr>
              <a:defRPr sz="1800"/>
            </a:lvl3pPr>
          </a:lstStyle>
          <a:p>
            <a:pPr lvl="0"/>
            <a:r>
              <a:rPr lang="en-US"/>
              <a:t>Edit Master text styles</a:t>
            </a:r>
          </a:p>
          <a:p>
            <a:pPr lvl="1"/>
            <a:r>
              <a:rPr lang="en-US"/>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288082730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Freeform 9"/>
          <p:cNvSpPr>
            <a:spLocks/>
          </p:cNvSpPr>
          <p:nvPr userDrawn="1"/>
        </p:nvSpPr>
        <p:spPr bwMode="auto">
          <a:xfrm rot="10800000" flipH="1" flipV="1">
            <a:off x="9144484"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6" name="Text Placeholder 5"/>
          <p:cNvSpPr>
            <a:spLocks noGrp="1"/>
          </p:cNvSpPr>
          <p:nvPr>
            <p:ph type="body" sz="quarter" idx="13"/>
          </p:nvPr>
        </p:nvSpPr>
        <p:spPr>
          <a:xfrm>
            <a:off x="269241" y="1022327"/>
            <a:ext cx="9369016"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Edit Master text styles</a:t>
            </a:r>
          </a:p>
        </p:txBody>
      </p:sp>
      <p:sp>
        <p:nvSpPr>
          <p:cNvPr id="7" name="Title 2"/>
          <p:cNvSpPr>
            <a:spLocks noGrp="1"/>
          </p:cNvSpPr>
          <p:nvPr>
            <p:ph type="title"/>
          </p:nvPr>
        </p:nvSpPr>
        <p:spPr>
          <a:xfrm>
            <a:off x="268927" y="286381"/>
            <a:ext cx="10094273" cy="774046"/>
          </a:xfrm>
          <a:prstGeom prst="rect">
            <a:avLst/>
          </a:prstGeom>
        </p:spPr>
        <p:txBody>
          <a:bodyPr/>
          <a:lstStyle>
            <a:lvl1pPr algn="l">
              <a:defRPr sz="4400">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pPr/>
              <a:t>‹#›</a:t>
            </a:fld>
            <a:endParaRPr lang="en-US"/>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234886809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Color w/Photo Block Title on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7415" r="64992"/>
          <a:stretch/>
        </p:blipFill>
        <p:spPr>
          <a:xfrm>
            <a:off x="-1" y="-1"/>
            <a:ext cx="5676901" cy="6858002"/>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endParaRPr lang="en-US" dirty="0"/>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26"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Edit Master text styles</a:t>
            </a:r>
          </a:p>
          <a:p>
            <a:pPr lvl="1"/>
            <a:r>
              <a:rPr lang="en-US"/>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6034992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with smaller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FF0CFC-240F-4D5A-8974-23B7DB116965}"/>
              </a:ext>
            </a:extLst>
          </p:cNvPr>
          <p:cNvSpPr/>
          <p:nvPr userDrawn="1"/>
        </p:nvSpPr>
        <p:spPr bwMode="auto">
          <a:xfrm>
            <a:off x="6489700" y="311150"/>
            <a:ext cx="5232400" cy="62357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Photo layout </a:t>
            </a:r>
            <a:br>
              <a:rPr lang="en-US"/>
            </a:br>
            <a:r>
              <a:rPr lang="en-US"/>
              <a:t>with smaller text</a:t>
            </a:r>
          </a:p>
        </p:txBody>
      </p:sp>
      <p:sp>
        <p:nvSpPr>
          <p:cNvPr id="5" name="Picture Placeholder 8">
            <a:extLst>
              <a:ext uri="{FF2B5EF4-FFF2-40B4-BE49-F238E27FC236}">
                <a16:creationId xmlns:a16="http://schemas.microsoft.com/office/drawing/2014/main" id="{3F5CB701-C620-4C35-A819-AE1CA461462B}"/>
              </a:ext>
            </a:extLst>
          </p:cNvPr>
          <p:cNvSpPr>
            <a:spLocks noGrp="1"/>
          </p:cNvSpPr>
          <p:nvPr>
            <p:ph type="pic" sz="quarter" idx="11" hasCustomPrompt="1"/>
          </p:nvPr>
        </p:nvSpPr>
        <p:spPr>
          <a:xfrm>
            <a:off x="6718300" y="0"/>
            <a:ext cx="4775200" cy="6858000"/>
          </a:xfrm>
          <a:blipFill>
            <a:blip r:embed="rId2" cstate="screen">
              <a:extLst>
                <a:ext uri="{28A0092B-C50C-407E-A947-70E740481C1C}">
                  <a14:useLocalDpi xmlns:a14="http://schemas.microsoft.com/office/drawing/2010/main"/>
                </a:ext>
              </a:extLst>
            </a:blip>
            <a:srcRect/>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1962966"/>
      </p:ext>
    </p:extLst>
  </p:cSld>
  <p:clrMapOvr>
    <a:masterClrMapping/>
  </p:clrMapOvr>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Color w/Photo Block Title on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1674" r="50733"/>
          <a:stretch/>
        </p:blipFill>
        <p:spPr>
          <a:xfrm>
            <a:off x="-1" y="-1"/>
            <a:ext cx="5676901" cy="6858002"/>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endParaRPr lang="en-US" dirty="0"/>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12"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Edit Master text styles</a:t>
            </a:r>
          </a:p>
          <a:p>
            <a:pPr lvl="1"/>
            <a:r>
              <a:rPr lang="en-US"/>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426110482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Color w/Photo Block Title on Lef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54154" r="18253"/>
          <a:stretch/>
        </p:blipFill>
        <p:spPr>
          <a:xfrm>
            <a:off x="-1" y="-1"/>
            <a:ext cx="5676901" cy="6858002"/>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endParaRPr lang="en-US" dirty="0"/>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12"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Edit Master text styles</a:t>
            </a:r>
          </a:p>
          <a:p>
            <a:pPr lvl="1"/>
            <a:r>
              <a:rPr lang="en-US"/>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37666855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lor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1"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10"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Edit Master text styles</a:t>
            </a:r>
          </a:p>
          <a:p>
            <a:pPr lvl="1"/>
            <a:r>
              <a:rPr lang="en-US"/>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221259353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lor Block Content on Right">
    <p:spTree>
      <p:nvGrpSpPr>
        <p:cNvPr id="1" name=""/>
        <p:cNvGrpSpPr/>
        <p:nvPr/>
      </p:nvGrpSpPr>
      <p:grpSpPr>
        <a:xfrm>
          <a:off x="0" y="0"/>
          <a:ext cx="0" cy="0"/>
          <a:chOff x="0" y="0"/>
          <a:chExt cx="0" cy="0"/>
        </a:xfrm>
      </p:grpSpPr>
      <p:sp>
        <p:nvSpPr>
          <p:cNvPr id="21" name="Freeform 20"/>
          <p:cNvSpPr/>
          <p:nvPr userDrawn="1"/>
        </p:nvSpPr>
        <p:spPr bwMode="auto">
          <a:xfrm>
            <a:off x="4009781"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 name="Title 2"/>
          <p:cNvSpPr>
            <a:spLocks noGrp="1"/>
          </p:cNvSpPr>
          <p:nvPr>
            <p:ph type="title"/>
          </p:nvPr>
        </p:nvSpPr>
        <p:spPr>
          <a:xfrm>
            <a:off x="472128" y="1108673"/>
            <a:ext cx="4432965" cy="927940"/>
          </a:xfrm>
          <a:prstGeom prst="rect">
            <a:avLst/>
          </a:prstGeom>
        </p:spPr>
        <p:txBody>
          <a:bodyPr/>
          <a:lstStyle>
            <a:lvl1pPr algn="l">
              <a:defRPr sz="4400" spc="0">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pPr/>
              <a:t>‹#›</a:t>
            </a:fld>
            <a:endParaRPr lang="en-US"/>
          </a:p>
        </p:txBody>
      </p:sp>
      <p:sp>
        <p:nvSpPr>
          <p:cNvPr id="25"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1"/>
                </a:solidFill>
              </a:defRPr>
            </a:lvl1pPr>
            <a:lvl2pPr>
              <a:spcBef>
                <a:spcPts val="1200"/>
              </a:spcBef>
              <a:defRPr sz="1800">
                <a:solidFill>
                  <a:schemeClr val="bg1"/>
                </a:solidFill>
              </a:defRPr>
            </a:lvl2pPr>
            <a:lvl3pPr>
              <a:defRPr sz="1800">
                <a:solidFill>
                  <a:schemeClr val="bg1"/>
                </a:solidFill>
              </a:defRPr>
            </a:lvl3pPr>
          </a:lstStyle>
          <a:p>
            <a:pPr lvl="0"/>
            <a:r>
              <a:rPr lang="en-US"/>
              <a:t>Edit Master text styles</a:t>
            </a:r>
          </a:p>
          <a:p>
            <a:pPr lvl="1"/>
            <a:r>
              <a:rPr lang="en-US"/>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27066918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399726313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3" name="Shape 23"/>
          <p:cNvSpPr>
            <a:spLocks noGrp="1"/>
          </p:cNvSpPr>
          <p:nvPr>
            <p:ph type="body" sz="quarter" idx="13"/>
          </p:nvPr>
        </p:nvSpPr>
        <p:spPr>
          <a:xfrm>
            <a:off x="238125" y="803672"/>
            <a:ext cx="11715750" cy="370101"/>
          </a:xfrm>
          <a:prstGeom prst="rect">
            <a:avLst/>
          </a:prstGeom>
        </p:spPr>
        <p:txBody>
          <a:bodyPr lIns="0" tIns="0" rIns="0" bIns="0">
            <a:spAutoFit/>
          </a:bodyPr>
          <a:lstStyle>
            <a:lvl1pPr marL="0" indent="0" defTabSz="410751">
              <a:lnSpc>
                <a:spcPct val="90000"/>
              </a:lnSpc>
              <a:spcBef>
                <a:spcPts val="0"/>
              </a:spcBef>
              <a:buSzTx/>
              <a:buFontTx/>
              <a:buNone/>
              <a:defRPr sz="2672">
                <a:solidFill>
                  <a:srgbClr val="AAAAAA"/>
                </a:solidFill>
                <a:latin typeface="Helvetica Neue Light"/>
                <a:ea typeface="Helvetica Neue Light"/>
                <a:cs typeface="Helvetica Neue Light"/>
                <a:sym typeface="Helvetica Neue Light"/>
              </a:defRPr>
            </a:lvl1pPr>
          </a:lstStyle>
          <a:p>
            <a:r>
              <a:t>Up to a two line subtitle, generally used to describe the takeaway for the slide</a:t>
            </a:r>
          </a:p>
        </p:txBody>
      </p:sp>
      <p:sp>
        <p:nvSpPr>
          <p:cNvPr id="24" name="Shape 24"/>
          <p:cNvSpPr>
            <a:spLocks noGrp="1"/>
          </p:cNvSpPr>
          <p:nvPr>
            <p:ph type="title"/>
          </p:nvPr>
        </p:nvSpPr>
        <p:spPr>
          <a:xfrm>
            <a:off x="238125" y="178594"/>
            <a:ext cx="11715750" cy="642938"/>
          </a:xfrm>
          <a:prstGeom prst="rect">
            <a:avLst/>
          </a:prstGeom>
        </p:spPr>
        <p:txBody>
          <a:bodyPr lIns="0" tIns="0" rIns="0" bIns="0">
            <a:noAutofit/>
          </a:bodyPr>
          <a:lstStyle>
            <a:lvl1pPr defTabSz="410751">
              <a:defRPr sz="3375" b="1">
                <a:latin typeface="+mn-lt"/>
                <a:ea typeface="+mn-ea"/>
                <a:cs typeface="+mn-cs"/>
                <a:sym typeface="Helvetica Neue"/>
              </a:defRPr>
            </a:lvl1pPr>
          </a:lstStyle>
          <a:p>
            <a:r>
              <a:t>Title Text</a:t>
            </a:r>
          </a:p>
        </p:txBody>
      </p:sp>
      <p:sp>
        <p:nvSpPr>
          <p:cNvPr id="25" name="Shape 25"/>
          <p:cNvSpPr>
            <a:spLocks noGrp="1"/>
          </p:cNvSpPr>
          <p:nvPr>
            <p:ph type="body" idx="1"/>
          </p:nvPr>
        </p:nvSpPr>
        <p:spPr>
          <a:xfrm>
            <a:off x="238125" y="1785938"/>
            <a:ext cx="11715750" cy="4911328"/>
          </a:xfrm>
          <a:prstGeom prst="rect">
            <a:avLst/>
          </a:prstGeom>
        </p:spPr>
        <p:txBody>
          <a:bodyPr lIns="0" tIns="0" rIns="0" bIns="0" anchor="ctr">
            <a:noAutofit/>
          </a:bodyPr>
          <a:lstStyle>
            <a:lvl1pPr marL="625056" indent="-401822" defTabSz="410751">
              <a:spcBef>
                <a:spcPts val="1687"/>
              </a:spcBef>
              <a:buFontTx/>
              <a:buChar char="‣"/>
              <a:defRPr sz="2812">
                <a:latin typeface="+mn-lt"/>
                <a:ea typeface="+mn-ea"/>
                <a:cs typeface="+mn-cs"/>
                <a:sym typeface="Helvetica Neue"/>
              </a:defRPr>
            </a:lvl1pPr>
            <a:lvl2pPr marL="937584" indent="-401822" defTabSz="410751">
              <a:spcBef>
                <a:spcPts val="1687"/>
              </a:spcBef>
              <a:buSzPct val="75000"/>
              <a:buFontTx/>
              <a:buChar char="•"/>
              <a:defRPr sz="2531">
                <a:solidFill>
                  <a:srgbClr val="606060"/>
                </a:solidFill>
                <a:latin typeface="Helvetica Neue Light"/>
                <a:ea typeface="Helvetica Neue Light"/>
                <a:cs typeface="Helvetica Neue Light"/>
                <a:sym typeface="Helvetica Neue Light"/>
              </a:defRPr>
            </a:lvl2pPr>
            <a:lvl3pPr marL="1250112" indent="-401822" defTabSz="410751">
              <a:spcBef>
                <a:spcPts val="1687"/>
              </a:spcBef>
              <a:buSzPct val="75000"/>
              <a:buFontTx/>
              <a:buChar char="-"/>
              <a:defRPr sz="2250">
                <a:solidFill>
                  <a:srgbClr val="606060"/>
                </a:solidFill>
                <a:latin typeface="Helvetica Neue Light"/>
                <a:ea typeface="Helvetica Neue Light"/>
                <a:cs typeface="Helvetica Neue Light"/>
                <a:sym typeface="Helvetica Neue Light"/>
              </a:defRPr>
            </a:lvl3pPr>
            <a:lvl4pPr marL="1562640" indent="-401822" defTabSz="410751">
              <a:spcBef>
                <a:spcPts val="1687"/>
              </a:spcBef>
              <a:buSzPct val="75000"/>
              <a:buFontTx/>
              <a:buChar char="-"/>
              <a:defRPr sz="2250">
                <a:solidFill>
                  <a:srgbClr val="606060"/>
                </a:solidFill>
                <a:latin typeface="Helvetica Neue Light"/>
                <a:ea typeface="Helvetica Neue Light"/>
                <a:cs typeface="Helvetica Neue Light"/>
                <a:sym typeface="Helvetica Neue Light"/>
              </a:defRPr>
            </a:lvl4pPr>
            <a:lvl5pPr marL="1875168" indent="-401822" defTabSz="410751">
              <a:spcBef>
                <a:spcPts val="1687"/>
              </a:spcBef>
              <a:buSzPct val="75000"/>
              <a:buFontTx/>
              <a:buChar char="-"/>
              <a:defRPr sz="2250">
                <a:solidFill>
                  <a:srgbClr val="606060"/>
                </a:solidFill>
                <a:latin typeface="Helvetica Neue Light"/>
                <a:ea typeface="Helvetica Neue Light"/>
                <a:cs typeface="Helvetica Neue Light"/>
                <a:sym typeface="Helvetica Neue Light"/>
              </a:defRPr>
            </a:lvl5pPr>
          </a:lstStyle>
          <a:p>
            <a:r>
              <a:t>Body Level One</a:t>
            </a:r>
          </a:p>
          <a:p>
            <a:pPr lvl="1"/>
            <a:r>
              <a:t>Body Level Two</a:t>
            </a:r>
          </a:p>
          <a:p>
            <a:pPr lvl="2"/>
            <a:r>
              <a:t>Body Level Three</a:t>
            </a:r>
          </a:p>
          <a:p>
            <a:pPr lvl="3"/>
            <a:r>
              <a:t>Body Level Four</a:t>
            </a:r>
          </a:p>
          <a:p>
            <a:pPr lvl="4"/>
            <a:r>
              <a:t>Body Level Five</a:t>
            </a:r>
          </a:p>
        </p:txBody>
      </p:sp>
      <p:sp>
        <p:nvSpPr>
          <p:cNvPr id="26" name="Shape 26"/>
          <p:cNvSpPr>
            <a:spLocks noGrp="1"/>
          </p:cNvSpPr>
          <p:nvPr>
            <p:ph type="sldNum" sz="quarter" idx="2"/>
          </p:nvPr>
        </p:nvSpPr>
        <p:spPr>
          <a:xfrm>
            <a:off x="5908118" y="6593086"/>
            <a:ext cx="318994" cy="228028"/>
          </a:xfrm>
          <a:prstGeom prst="rect">
            <a:avLst/>
          </a:prstGeom>
        </p:spPr>
        <p:txBody>
          <a:bodyPr lIns="50800" tIns="50800" rIns="50800" bIns="50800" anchor="t"/>
          <a:lstStyle>
            <a:lvl1pPr algn="l" defTabSz="410751">
              <a:defRPr>
                <a:solidFill>
                  <a:srgbClr val="606060"/>
                </a:solidFill>
                <a:latin typeface="Helvetica Neue Light"/>
                <a:ea typeface="Helvetica Neue Light"/>
                <a:cs typeface="Helvetica Neue Light"/>
                <a:sym typeface="Helvetica Neue Light"/>
              </a:defRPr>
            </a:lvl1pPr>
          </a:lstStyle>
          <a:p>
            <a:fld id="{86CB4B4D-7CA3-9044-876B-883B54F8677D}" type="slidenum">
              <a:t>‹#›</a:t>
            </a:fld>
            <a:endParaRPr/>
          </a:p>
        </p:txBody>
      </p:sp>
      <p:pic>
        <p:nvPicPr>
          <p:cNvPr id="27" name="droppedImage.pdf"/>
          <p:cNvPicPr>
            <a:picLocks noChangeAspect="1"/>
          </p:cNvPicPr>
          <p:nvPr/>
        </p:nvPicPr>
        <p:blipFill>
          <a:blip r:embed="rId2"/>
          <a:stretch>
            <a:fillRect/>
          </a:stretch>
        </p:blipFill>
        <p:spPr>
          <a:xfrm>
            <a:off x="9068942" y="6103441"/>
            <a:ext cx="2850117" cy="714375"/>
          </a:xfrm>
          <a:prstGeom prst="rect">
            <a:avLst/>
          </a:prstGeom>
          <a:ln w="12700">
            <a:miter lim="400000"/>
          </a:ln>
        </p:spPr>
      </p:pic>
      <p:cxnSp>
        <p:nvCxnSpPr>
          <p:cNvPr id="3" name="Straight Connector 2"/>
          <p:cNvCxnSpPr/>
          <p:nvPr userDrawn="1"/>
        </p:nvCxnSpPr>
        <p:spPr>
          <a:xfrm>
            <a:off x="238125" y="811811"/>
            <a:ext cx="11861036" cy="0"/>
          </a:xfrm>
          <a:prstGeom prst="line">
            <a:avLst/>
          </a:prstGeom>
          <a:noFill/>
          <a:ln w="25400" cap="flat">
            <a:solidFill>
              <a:srgbClr val="C0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550625197"/>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993042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2415285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8668626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871332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45176860"/>
      </p:ext>
    </p:extLst>
  </p:cSld>
  <p:clrMapOvr>
    <a:masterClrMapping/>
  </p:clrMapOvr>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3096537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299054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041509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1264729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947279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160000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31ECEC-17E1-4593-969B-5B2AC57EC8A0}" type="datetimeFigureOut">
              <a:rPr lang="en-US">
                <a:solidFill>
                  <a:prstClr val="black">
                    <a:tint val="75000"/>
                  </a:prstClr>
                </a:solidFill>
              </a:rPr>
              <a:pPr/>
              <a:t>7/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491343-0FD2-4011-9ADD-A174C50DA96B}"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289394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3048" y="0"/>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23"/>
          <p:cNvSpPr/>
          <p:nvPr userDrawn="1"/>
        </p:nvSpPr>
        <p:spPr bwMode="auto">
          <a:xfrm>
            <a:off x="0" y="0"/>
            <a:ext cx="10153146" cy="6858000"/>
          </a:xfrm>
          <a:custGeom>
            <a:avLst/>
            <a:gdLst>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3429708 w 10153146"/>
              <a:gd name="connsiteY4" fmla="*/ 0 h 6858000"/>
              <a:gd name="connsiteX5" fmla="*/ 10153146 w 10153146"/>
              <a:gd name="connsiteY5" fmla="*/ 0 h 6858000"/>
              <a:gd name="connsiteX6" fmla="*/ 8692118 w 10153146"/>
              <a:gd name="connsiteY6" fmla="*/ 6858000 h 6858000"/>
              <a:gd name="connsiteX7" fmla="*/ 3429708 w 10153146"/>
              <a:gd name="connsiteY7" fmla="*/ 6858000 h 6858000"/>
              <a:gd name="connsiteX8" fmla="*/ 3313859 w 10153146"/>
              <a:gd name="connsiteY8" fmla="*/ 6858000 h 6858000"/>
              <a:gd name="connsiteX9" fmla="*/ 2046514 w 10153146"/>
              <a:gd name="connsiteY9" fmla="*/ 6858000 h 6858000"/>
              <a:gd name="connsiteX10" fmla="*/ 1862165 w 10153146"/>
              <a:gd name="connsiteY10" fmla="*/ 6858000 h 6858000"/>
              <a:gd name="connsiteX11" fmla="*/ 0 w 10153146"/>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146" h="6858000">
                <a:moveTo>
                  <a:pt x="0" y="0"/>
                </a:moveTo>
                <a:lnTo>
                  <a:pt x="1862165" y="0"/>
                </a:lnTo>
                <a:lnTo>
                  <a:pt x="2046514" y="0"/>
                </a:lnTo>
                <a:lnTo>
                  <a:pt x="3313859" y="0"/>
                </a:lnTo>
                <a:lnTo>
                  <a:pt x="3429708" y="0"/>
                </a:lnTo>
                <a:lnTo>
                  <a:pt x="10153146" y="0"/>
                </a:lnTo>
                <a:lnTo>
                  <a:pt x="8692118" y="6858000"/>
                </a:lnTo>
                <a:lnTo>
                  <a:pt x="3429708" y="6858000"/>
                </a:lnTo>
                <a:lnTo>
                  <a:pt x="3313859" y="6858000"/>
                </a:lnTo>
                <a:lnTo>
                  <a:pt x="2046514" y="6858000"/>
                </a:lnTo>
                <a:lnTo>
                  <a:pt x="1862165" y="6858000"/>
                </a:lnTo>
                <a:lnTo>
                  <a:pt x="0" y="685800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rgbClr val="000000"/>
              </a:solidFill>
            </a:endParaRPr>
          </a:p>
        </p:txBody>
      </p:sp>
      <p:sp>
        <p:nvSpPr>
          <p:cNvPr id="25" name="Freeform 24"/>
          <p:cNvSpPr>
            <a:spLocks/>
          </p:cNvSpPr>
          <p:nvPr userDrawn="1"/>
        </p:nvSpPr>
        <p:spPr bwMode="auto">
          <a:xfrm flipH="1" flipV="1">
            <a:off x="0" y="0"/>
            <a:ext cx="8778917" cy="6858000"/>
          </a:xfrm>
          <a:custGeom>
            <a:avLst/>
            <a:gdLst>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732403 w 8778917"/>
              <a:gd name="connsiteY8" fmla="*/ 0 h 6858000"/>
              <a:gd name="connsiteX9" fmla="*/ 6839287 w 8778917"/>
              <a:gd name="connsiteY9" fmla="*/ 0 h 6858000"/>
              <a:gd name="connsiteX10" fmla="*/ 8290981 w 8778917"/>
              <a:gd name="connsiteY10" fmla="*/ 0 h 6858000"/>
              <a:gd name="connsiteX11" fmla="*/ 8778917 w 877891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78917" h="6858000">
                <a:moveTo>
                  <a:pt x="8778917" y="6858000"/>
                </a:moveTo>
                <a:lnTo>
                  <a:pt x="8290981" y="6858000"/>
                </a:lnTo>
                <a:lnTo>
                  <a:pt x="6839287" y="6858000"/>
                </a:lnTo>
                <a:lnTo>
                  <a:pt x="6732403" y="6858000"/>
                </a:lnTo>
                <a:lnTo>
                  <a:pt x="6723438" y="6858000"/>
                </a:lnTo>
                <a:lnTo>
                  <a:pt x="0" y="6858000"/>
                </a:lnTo>
                <a:lnTo>
                  <a:pt x="1461028" y="0"/>
                </a:lnTo>
                <a:lnTo>
                  <a:pt x="6723438" y="0"/>
                </a:lnTo>
                <a:lnTo>
                  <a:pt x="6732403" y="0"/>
                </a:lnTo>
                <a:lnTo>
                  <a:pt x="6839287" y="0"/>
                </a:lnTo>
                <a:lnTo>
                  <a:pt x="8290981" y="0"/>
                </a:lnTo>
                <a:lnTo>
                  <a:pt x="8778917" y="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rgbClr val="000000"/>
              </a:solidFill>
            </a:endParaRPr>
          </a:p>
        </p:txBody>
      </p:sp>
      <p:sp>
        <p:nvSpPr>
          <p:cNvPr id="19" name="Freeform 18"/>
          <p:cNvSpPr>
            <a:spLocks/>
          </p:cNvSpPr>
          <p:nvPr userDrawn="1"/>
        </p:nvSpPr>
        <p:spPr bwMode="auto">
          <a:xfrm flipH="1" flipV="1">
            <a:off x="-1" y="0"/>
            <a:ext cx="8290981" cy="6858000"/>
          </a:xfrm>
          <a:custGeom>
            <a:avLst/>
            <a:gdLst>
              <a:gd name="connsiteX0" fmla="*/ 8290981 w 8290981"/>
              <a:gd name="connsiteY0" fmla="*/ 6858000 h 6858000"/>
              <a:gd name="connsiteX1" fmla="*/ 6839287 w 8290981"/>
              <a:gd name="connsiteY1" fmla="*/ 6858000 h 6858000"/>
              <a:gd name="connsiteX2" fmla="*/ 6723438 w 8290981"/>
              <a:gd name="connsiteY2" fmla="*/ 6858000 h 6858000"/>
              <a:gd name="connsiteX3" fmla="*/ 0 w 8290981"/>
              <a:gd name="connsiteY3" fmla="*/ 6858000 h 6858000"/>
              <a:gd name="connsiteX4" fmla="*/ 1461028 w 8290981"/>
              <a:gd name="connsiteY4" fmla="*/ 0 h 6858000"/>
              <a:gd name="connsiteX5" fmla="*/ 6723438 w 8290981"/>
              <a:gd name="connsiteY5" fmla="*/ 0 h 6858000"/>
              <a:gd name="connsiteX6" fmla="*/ 6839287 w 8290981"/>
              <a:gd name="connsiteY6" fmla="*/ 0 h 6858000"/>
              <a:gd name="connsiteX7" fmla="*/ 8290981 w 829098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90981" h="6858000">
                <a:moveTo>
                  <a:pt x="8290981" y="6858000"/>
                </a:moveTo>
                <a:lnTo>
                  <a:pt x="6839287" y="6858000"/>
                </a:lnTo>
                <a:lnTo>
                  <a:pt x="6723438" y="6858000"/>
                </a:lnTo>
                <a:lnTo>
                  <a:pt x="0" y="6858000"/>
                </a:lnTo>
                <a:lnTo>
                  <a:pt x="1461028" y="0"/>
                </a:lnTo>
                <a:lnTo>
                  <a:pt x="6723438" y="0"/>
                </a:lnTo>
                <a:lnTo>
                  <a:pt x="6839287" y="0"/>
                </a:lnTo>
                <a:lnTo>
                  <a:pt x="8290981" y="0"/>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1"/>
          <p:cNvSpPr>
            <a:spLocks noGrp="1"/>
          </p:cNvSpPr>
          <p:nvPr>
            <p:ph type="title" hasCustomPrompt="1"/>
          </p:nvPr>
        </p:nvSpPr>
        <p:spPr bwMode="auto">
          <a:xfrm>
            <a:off x="366271" y="2205464"/>
            <a:ext cx="6987030" cy="2438400"/>
          </a:xfrm>
          <a:noFill/>
        </p:spPr>
        <p:txBody>
          <a:bodyPr lIns="195067" tIns="121917" rIns="195067" bIns="121917" anchor="t" anchorCtr="0"/>
          <a:lstStyle>
            <a:lvl1pPr>
              <a:defRPr sz="5400"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8" y="4050993"/>
            <a:ext cx="6989234" cy="1057328"/>
          </a:xfrm>
          <a:noFill/>
        </p:spPr>
        <p:txBody>
          <a:bodyPr tIns="146300" bIns="146300">
            <a:noAutofit/>
          </a:bodyPr>
          <a:lstStyle>
            <a:lvl1pPr marL="0" indent="0">
              <a:spcBef>
                <a:spcPts val="0"/>
              </a:spcBef>
              <a:buNone/>
              <a:defRPr sz="2400">
                <a:solidFill>
                  <a:srgbClr val="FFFFFF"/>
                </a:solidFill>
              </a:defRPr>
            </a:lvl1pPr>
          </a:lstStyle>
          <a:p>
            <a:pPr lvl="0"/>
            <a:r>
              <a:rPr lang="en-US" dirty="0"/>
              <a:t>Speaker Name</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518987" y="6368028"/>
            <a:ext cx="1304123" cy="285764"/>
          </a:xfrm>
          <a:prstGeom prst="rect">
            <a:avLst/>
          </a:prstGeom>
        </p:spPr>
      </p:pic>
      <p:sp>
        <p:nvSpPr>
          <p:cNvPr id="13" name="TextBox 12"/>
          <p:cNvSpPr txBox="1"/>
          <p:nvPr userDrawn="1"/>
        </p:nvSpPr>
        <p:spPr>
          <a:xfrm>
            <a:off x="364067" y="6419582"/>
            <a:ext cx="2606040" cy="182880"/>
          </a:xfrm>
          <a:prstGeom prst="rect">
            <a:avLst/>
          </a:prstGeom>
          <a:noFill/>
        </p:spPr>
        <p:txBody>
          <a:bodyPr wrap="none" lIns="182880" tIns="146304" rIns="182880" bIns="146304" rtlCol="0" anchor="ctr">
            <a:noAutofit/>
          </a:bodyPr>
          <a:lstStyle/>
          <a:p>
            <a:pPr algn="l">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76049451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Slide 1_Animated">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0" y="0"/>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a:spLocks/>
          </p:cNvSpPr>
          <p:nvPr userDrawn="1"/>
        </p:nvSpPr>
        <p:spPr bwMode="auto">
          <a:xfrm>
            <a:off x="6530249" y="-1"/>
            <a:ext cx="8081101" cy="6858002"/>
          </a:xfrm>
          <a:custGeom>
            <a:avLst/>
            <a:gdLst>
              <a:gd name="connsiteX0" fmla="*/ 1457721 w 8081101"/>
              <a:gd name="connsiteY0" fmla="*/ 0 h 6858002"/>
              <a:gd name="connsiteX1" fmla="*/ 8081101 w 8081101"/>
              <a:gd name="connsiteY1" fmla="*/ 0 h 6858002"/>
              <a:gd name="connsiteX2" fmla="*/ 8081101 w 8081101"/>
              <a:gd name="connsiteY2" fmla="*/ 6858002 h 6858002"/>
              <a:gd name="connsiteX3" fmla="*/ 0 w 808110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8081101" h="6858002">
                <a:moveTo>
                  <a:pt x="1457721" y="0"/>
                </a:moveTo>
                <a:lnTo>
                  <a:pt x="8081101" y="0"/>
                </a:lnTo>
                <a:lnTo>
                  <a:pt x="8081101" y="6858002"/>
                </a:lnTo>
                <a:lnTo>
                  <a:pt x="0" y="6858002"/>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1"/>
          <p:cNvSpPr>
            <a:spLocks noGrp="1"/>
          </p:cNvSpPr>
          <p:nvPr>
            <p:ph type="title" hasCustomPrompt="1"/>
          </p:nvPr>
        </p:nvSpPr>
        <p:spPr bwMode="auto">
          <a:xfrm>
            <a:off x="6815251" y="2459504"/>
            <a:ext cx="4496016" cy="1914361"/>
          </a:xfrm>
          <a:noFill/>
        </p:spPr>
        <p:txBody>
          <a:bodyPr lIns="195067" tIns="121917" rIns="195067" bIns="121917" anchor="t" anchorCtr="0"/>
          <a:lstStyle>
            <a:lvl1pPr>
              <a:defRPr sz="6000" spc="-133" baseline="0">
                <a:solidFill>
                  <a:srgbClr val="FFFFFF"/>
                </a:solidFill>
                <a:latin typeface="Segoe UI Light"/>
                <a:cs typeface="Segoe UI Light"/>
              </a:defRPr>
            </a:lvl1pPr>
          </a:lstStyle>
          <a:p>
            <a:r>
              <a:rPr lang="en-US" dirty="0"/>
              <a:t>Click to edit title</a:t>
            </a:r>
          </a:p>
        </p:txBody>
      </p:sp>
      <p:sp>
        <p:nvSpPr>
          <p:cNvPr id="21" name="Text Placeholder 5"/>
          <p:cNvSpPr>
            <a:spLocks noGrp="1"/>
          </p:cNvSpPr>
          <p:nvPr>
            <p:ph type="body" sz="quarter" idx="13"/>
          </p:nvPr>
        </p:nvSpPr>
        <p:spPr>
          <a:xfrm>
            <a:off x="6815251" y="4366353"/>
            <a:ext cx="4496016"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3862507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1">
                                            <p:txEl>
                                              <p:pRg st="0" end="0"/>
                                            </p:txEl>
                                          </p:spTgt>
                                        </p:tgtEl>
                                        <p:attrNameLst>
                                          <p:attrName>style.visibility</p:attrName>
                                        </p:attrNameLst>
                                      </p:cBhvr>
                                      <p:to>
                                        <p:strVal val="visible"/>
                                      </p:to>
                                    </p:set>
                                    <p:animEffect transition="in" filter="fade">
                                      <p:cBhvr>
                                        <p:cTn id="10" dur="500"/>
                                        <p:tgtEl>
                                          <p:spTgt spid="21">
                                            <p:txEl>
                                              <p:pRg st="0" end="0"/>
                                            </p:txEl>
                                          </p:spTgt>
                                        </p:tgtEl>
                                      </p:cBhvr>
                                    </p:animEffect>
                                  </p:childTnLst>
                                </p:cTn>
                              </p:par>
                              <p:par>
                                <p:cTn id="11" presetID="35" presetClass="path" presetSubtype="0" accel="50000" decel="50000" fill="hold" grpId="0" nodeType="withEffect">
                                  <p:stCondLst>
                                    <p:cond delay="0"/>
                                  </p:stCondLst>
                                  <p:childTnLst>
                                    <p:animMotion origin="layout" path="M 2.70833E-6 0 L -0.08972 0 " pathEditMode="relative" rAng="0" ptsTypes="AA">
                                      <p:cBhvr>
                                        <p:cTn id="12" dur="1000" fill="hold"/>
                                        <p:tgtEl>
                                          <p:spTgt spid="20"/>
                                        </p:tgtEl>
                                        <p:attrNameLst>
                                          <p:attrName>ppt_x</p:attrName>
                                          <p:attrName>ppt_y</p:attrName>
                                        </p:attrNameLst>
                                      </p:cBhvr>
                                      <p:rCtr x="-449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7" grpId="0"/>
      <p:bldP spid="21" grpId="0" build="p">
        <p:tmplLst>
          <p:tmpl lvl="1">
            <p:tnLst>
              <p:par>
                <p:cTn presetID="10" presetClass="entr" presetSubtype="0" fill="hold" nodeType="withEffect">
                  <p:stCondLst>
                    <p:cond delay="50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vider Slide 1_Not Animate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0" y="0"/>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7"/>
          <p:cNvSpPr>
            <a:spLocks/>
          </p:cNvSpPr>
          <p:nvPr userDrawn="1"/>
        </p:nvSpPr>
        <p:spPr bwMode="auto">
          <a:xfrm>
            <a:off x="5430791" y="-1"/>
            <a:ext cx="6761209" cy="6858002"/>
          </a:xfrm>
          <a:custGeom>
            <a:avLst/>
            <a:gdLst>
              <a:gd name="connsiteX0" fmla="*/ 1457721 w 6761209"/>
              <a:gd name="connsiteY0" fmla="*/ 0 h 6858002"/>
              <a:gd name="connsiteX1" fmla="*/ 6761209 w 6761209"/>
              <a:gd name="connsiteY1" fmla="*/ 0 h 6858002"/>
              <a:gd name="connsiteX2" fmla="*/ 6761209 w 6761209"/>
              <a:gd name="connsiteY2" fmla="*/ 6858002 h 6858002"/>
              <a:gd name="connsiteX3" fmla="*/ 0 w 6761209"/>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761209" h="6858002">
                <a:moveTo>
                  <a:pt x="1457721" y="0"/>
                </a:moveTo>
                <a:lnTo>
                  <a:pt x="6761209" y="0"/>
                </a:lnTo>
                <a:lnTo>
                  <a:pt x="6761209" y="6858002"/>
                </a:lnTo>
                <a:lnTo>
                  <a:pt x="0" y="6858002"/>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1"/>
          <p:cNvSpPr>
            <a:spLocks noGrp="1"/>
          </p:cNvSpPr>
          <p:nvPr>
            <p:ph type="title" hasCustomPrompt="1"/>
          </p:nvPr>
        </p:nvSpPr>
        <p:spPr bwMode="auto">
          <a:xfrm>
            <a:off x="6815251" y="2459504"/>
            <a:ext cx="4496016" cy="1914361"/>
          </a:xfrm>
          <a:noFill/>
        </p:spPr>
        <p:txBody>
          <a:bodyPr lIns="195067" tIns="121917" rIns="195067" bIns="121917" anchor="t" anchorCtr="0"/>
          <a:lstStyle>
            <a:lvl1pPr>
              <a:defRPr sz="6000" spc="-133" baseline="0">
                <a:solidFill>
                  <a:srgbClr val="FFFFFF"/>
                </a:solidFill>
                <a:latin typeface="Segoe UI Light"/>
                <a:cs typeface="Segoe UI Light"/>
              </a:defRPr>
            </a:lvl1pPr>
          </a:lstStyle>
          <a:p>
            <a:r>
              <a:rPr lang="en-US" dirty="0"/>
              <a:t>Click to edit title</a:t>
            </a:r>
          </a:p>
        </p:txBody>
      </p:sp>
      <p:sp>
        <p:nvSpPr>
          <p:cNvPr id="6" name="Text Placeholder 5"/>
          <p:cNvSpPr>
            <a:spLocks noGrp="1"/>
          </p:cNvSpPr>
          <p:nvPr>
            <p:ph type="body" sz="quarter" idx="13"/>
          </p:nvPr>
        </p:nvSpPr>
        <p:spPr>
          <a:xfrm>
            <a:off x="6815251" y="4366353"/>
            <a:ext cx="4496016"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26712006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6874526"/>
      </p:ext>
    </p:extLst>
  </p:cSld>
  <p:clrMapOvr>
    <a:masterClrMapping/>
  </p:clrMapOvr>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vider Slide 2_Animated">
    <p:spTree>
      <p:nvGrpSpPr>
        <p:cNvPr id="1" name=""/>
        <p:cNvGrpSpPr/>
        <p:nvPr/>
      </p:nvGrpSpPr>
      <p:grpSpPr>
        <a:xfrm>
          <a:off x="0" y="0"/>
          <a:ext cx="0" cy="0"/>
          <a:chOff x="0" y="0"/>
          <a:chExt cx="0" cy="0"/>
        </a:xfrm>
      </p:grpSpPr>
      <p:sp>
        <p:nvSpPr>
          <p:cNvPr id="15" name="Freeform 14"/>
          <p:cNvSpPr>
            <a:spLocks/>
          </p:cNvSpPr>
          <p:nvPr/>
        </p:nvSpPr>
        <p:spPr bwMode="auto">
          <a:xfrm>
            <a:off x="948599" y="0"/>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6" name="Text Placeholder 5"/>
          <p:cNvSpPr>
            <a:spLocks noGrp="1"/>
          </p:cNvSpPr>
          <p:nvPr>
            <p:ph type="body" sz="quarter" idx="13"/>
          </p:nvPr>
        </p:nvSpPr>
        <p:spPr>
          <a:xfrm>
            <a:off x="2771141" y="4366353"/>
            <a:ext cx="8963660"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70827" y="3428999"/>
            <a:ext cx="8963973" cy="927940"/>
          </a:xfrm>
          <a:prstGeom prst="rect">
            <a:avLst/>
          </a:prstGeom>
        </p:spPr>
        <p:txBody>
          <a:bodyPr/>
          <a:lstStyle>
            <a:lvl1pPr algn="l">
              <a:defRPr sz="5400">
                <a:solidFill>
                  <a:schemeClr val="bg1"/>
                </a:solidFill>
              </a:defRPr>
            </a:lvl1pPr>
          </a:lstStyle>
          <a:p>
            <a:r>
              <a:rPr lang="en-US" dirty="0"/>
              <a:t>Click to edit Master title style</a:t>
            </a:r>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408673769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withEffect">
                                  <p:stCondLst>
                                    <p:cond delay="0"/>
                                  </p:stCondLst>
                                  <p:childTnLst>
                                    <p:animMotion origin="layout" path="M -2.29167E-6 0 L 0.05599 0 " pathEditMode="relative" rAng="0" ptsTypes="AA">
                                      <p:cBhvr>
                                        <p:cTn id="6" dur="1000" fill="hold"/>
                                        <p:tgtEl>
                                          <p:spTgt spid="15"/>
                                        </p:tgtEl>
                                        <p:attrNameLst>
                                          <p:attrName>ppt_x</p:attrName>
                                          <p:attrName>ppt_y</p:attrName>
                                        </p:attrNameLst>
                                      </p:cBhvr>
                                      <p:rCtr x="2799" y="0"/>
                                    </p:animMotion>
                                  </p:childTnLst>
                                </p:cTn>
                              </p:par>
                              <p:par>
                                <p:cTn id="7" presetID="2" presetClass="entr" presetSubtype="2" decel="10000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anim calcmode="lin" valueType="num">
                                      <p:cBhvr additive="base">
                                        <p:cTn id="9" dur="10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10" dur="1000" fill="hold"/>
                                        <p:tgtEl>
                                          <p:spTgt spid="6">
                                            <p:txEl>
                                              <p:pRg st="0" end="0"/>
                                            </p:txEl>
                                          </p:spTgt>
                                        </p:tgtEl>
                                        <p:attrNameLst>
                                          <p:attrName>ppt_y</p:attrName>
                                        </p:attrNameLst>
                                      </p:cBhvr>
                                      <p:tavLst>
                                        <p:tav tm="0">
                                          <p:val>
                                            <p:strVal val="#ppt_y"/>
                                          </p:val>
                                        </p:tav>
                                        <p:tav tm="100000">
                                          <p:val>
                                            <p:strVal val="#ppt_y"/>
                                          </p:val>
                                        </p:tav>
                                      </p:tavLst>
                                    </p:anim>
                                  </p:childTnLst>
                                </p:cTn>
                              </p:par>
                              <p:par>
                                <p:cTn id="11" presetID="2" presetClass="entr" presetSubtype="2" decel="10000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fill="hold"/>
                                        <p:tgtEl>
                                          <p:spTgt spid="7"/>
                                        </p:tgtEl>
                                        <p:attrNameLst>
                                          <p:attrName>ppt_x</p:attrName>
                                        </p:attrNameLst>
                                      </p:cBhvr>
                                      <p:tavLst>
                                        <p:tav tm="0">
                                          <p:val>
                                            <p:strVal val="1+#ppt_w/2"/>
                                          </p:val>
                                        </p:tav>
                                        <p:tav tm="100000">
                                          <p:val>
                                            <p:strVal val="#ppt_x"/>
                                          </p:val>
                                        </p:tav>
                                      </p:tavLst>
                                    </p:anim>
                                    <p:anim calcmode="lin" valueType="num">
                                      <p:cBhvr additive="base">
                                        <p:cTn id="14"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6" grpId="0" build="p">
        <p:tmplLst>
          <p:tmpl lvl="1">
            <p:tnLst>
              <p:par>
                <p:cTn presetID="2" presetClass="entr" presetSubtype="2" decel="100000"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1+#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P spid="7" grpId="0"/>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vider Slide 2_Not Animated">
    <p:spTree>
      <p:nvGrpSpPr>
        <p:cNvPr id="1" name=""/>
        <p:cNvGrpSpPr/>
        <p:nvPr/>
      </p:nvGrpSpPr>
      <p:grpSpPr>
        <a:xfrm>
          <a:off x="0" y="0"/>
          <a:ext cx="0" cy="0"/>
          <a:chOff x="0" y="0"/>
          <a:chExt cx="0" cy="0"/>
        </a:xfrm>
      </p:grpSpPr>
      <p:sp>
        <p:nvSpPr>
          <p:cNvPr id="11" name="Freeform 10"/>
          <p:cNvSpPr>
            <a:spLocks/>
          </p:cNvSpPr>
          <p:nvPr/>
        </p:nvSpPr>
        <p:spPr bwMode="auto">
          <a:xfrm>
            <a:off x="1630774" y="-1"/>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6" name="Text Placeholder 5"/>
          <p:cNvSpPr>
            <a:spLocks noGrp="1"/>
          </p:cNvSpPr>
          <p:nvPr userDrawn="1">
            <p:ph type="body" sz="quarter" idx="13"/>
          </p:nvPr>
        </p:nvSpPr>
        <p:spPr>
          <a:xfrm>
            <a:off x="2771141" y="4366353"/>
            <a:ext cx="8963660"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userDrawn="1">
            <p:ph type="title"/>
          </p:nvPr>
        </p:nvSpPr>
        <p:spPr>
          <a:xfrm>
            <a:off x="2770827" y="3428999"/>
            <a:ext cx="8963973" cy="927940"/>
          </a:xfrm>
          <a:prstGeom prst="rect">
            <a:avLst/>
          </a:prstGeom>
        </p:spPr>
        <p:txBody>
          <a:bodyPr/>
          <a:lstStyle>
            <a:lvl1pPr algn="l">
              <a:defRPr sz="5400">
                <a:solidFill>
                  <a:schemeClr val="bg1"/>
                </a:solidFill>
              </a:defRPr>
            </a:lvl1pPr>
          </a:lstStyle>
          <a:p>
            <a:r>
              <a:rPr lang="en-US" dirty="0"/>
              <a:t>Click to edit Master title style</a:t>
            </a:r>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24222013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arge Title and Content">
    <p:spTree>
      <p:nvGrpSpPr>
        <p:cNvPr id="1" name=""/>
        <p:cNvGrpSpPr/>
        <p:nvPr/>
      </p:nvGrpSpPr>
      <p:grpSpPr>
        <a:xfrm>
          <a:off x="0" y="0"/>
          <a:ext cx="0" cy="0"/>
          <a:chOff x="0" y="0"/>
          <a:chExt cx="0" cy="0"/>
        </a:xfrm>
      </p:grpSpPr>
      <p:sp>
        <p:nvSpPr>
          <p:cNvPr id="17" name="Freeform 16"/>
          <p:cNvSpPr/>
          <p:nvPr userDrawn="1"/>
        </p:nvSpPr>
        <p:spPr bwMode="auto">
          <a:xfrm>
            <a:off x="0" y="0"/>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3033073" cy="2012859"/>
          </a:xfrm>
          <a:prstGeom prst="rect">
            <a:avLst/>
          </a:prstGeom>
        </p:spPr>
        <p:txBody>
          <a:bodyPr>
            <a:spAutoFit/>
          </a:bodyPr>
          <a:lstStyle>
            <a:lvl1pPr algn="l">
              <a:defRPr sz="4400">
                <a:solidFill>
                  <a:schemeClr val="bg1"/>
                </a:solidFill>
              </a:defRPr>
            </a:lvl1pPr>
          </a:lstStyle>
          <a:p>
            <a:r>
              <a:rPr lang="en-US" dirty="0"/>
              <a:t>Click to edit Master title style</a:t>
            </a:r>
          </a:p>
        </p:txBody>
      </p:sp>
      <p:sp>
        <p:nvSpPr>
          <p:cNvPr id="12"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dirty="0"/>
          </a:p>
        </p:txBody>
      </p:sp>
      <p:sp>
        <p:nvSpPr>
          <p:cNvPr id="3" name="Content Placeholder 2"/>
          <p:cNvSpPr>
            <a:spLocks noGrp="1"/>
          </p:cNvSpPr>
          <p:nvPr>
            <p:ph sz="quarter" idx="16"/>
          </p:nvPr>
        </p:nvSpPr>
        <p:spPr>
          <a:xfrm>
            <a:off x="4136528" y="742950"/>
            <a:ext cx="7785597" cy="5372100"/>
          </a:xfrm>
        </p:spPr>
        <p:txBody>
          <a:bodyPr/>
          <a:lstStyle>
            <a:lvl1pPr marL="0" indent="0">
              <a:spcBef>
                <a:spcPts val="1200"/>
              </a:spcBef>
              <a:buNone/>
              <a:defRPr sz="3200"/>
            </a:lvl1pPr>
            <a:lvl2pPr marL="0" indent="0">
              <a:spcBef>
                <a:spcPts val="1200"/>
              </a:spcBef>
              <a:buNone/>
              <a:defRPr sz="2000"/>
            </a:lvl2pPr>
            <a:lvl3pPr marL="560241" indent="0">
              <a:buNone/>
              <a:defRPr sz="1800"/>
            </a:lvl3pPr>
          </a:lstStyle>
          <a:p>
            <a:pPr lvl="0"/>
            <a:r>
              <a:rPr lang="en-US" dirty="0"/>
              <a:t>Click to edit Master text styles</a:t>
            </a:r>
          </a:p>
          <a:p>
            <a:pPr lvl="1"/>
            <a:r>
              <a:rPr lang="en-US" dirty="0"/>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752584042"/>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dirty="0"/>
          </a:p>
        </p:txBody>
      </p:sp>
      <p:sp>
        <p:nvSpPr>
          <p:cNvPr id="13" name="Content Placeholder 2"/>
          <p:cNvSpPr>
            <a:spLocks noGrp="1"/>
          </p:cNvSpPr>
          <p:nvPr>
            <p:ph sz="quarter" idx="16"/>
          </p:nvPr>
        </p:nvSpPr>
        <p:spPr>
          <a:xfrm>
            <a:off x="3047516" y="742950"/>
            <a:ext cx="8874610" cy="5372100"/>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dirty="0"/>
              <a:t>Click to edit Master text styles</a:t>
            </a:r>
          </a:p>
          <a:p>
            <a:pPr lvl="1"/>
            <a:r>
              <a:rPr lang="en-US" dirty="0"/>
              <a:t>Second level</a:t>
            </a:r>
          </a:p>
        </p:txBody>
      </p:sp>
      <p:sp>
        <p:nvSpPr>
          <p:cNvPr id="14" name="TextBox 13"/>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400452398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mall Title and 2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dirty="0"/>
          </a:p>
        </p:txBody>
      </p:sp>
      <p:sp>
        <p:nvSpPr>
          <p:cNvPr id="13" name="Content Placeholder 2"/>
          <p:cNvSpPr>
            <a:spLocks noGrp="1"/>
          </p:cNvSpPr>
          <p:nvPr>
            <p:ph sz="quarter" idx="16"/>
          </p:nvPr>
        </p:nvSpPr>
        <p:spPr>
          <a:xfrm>
            <a:off x="3047516"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dirty="0"/>
              <a:t>Click to edit Master text styles</a:t>
            </a:r>
          </a:p>
          <a:p>
            <a:pPr lvl="1"/>
            <a:r>
              <a:rPr lang="en-US" dirty="0"/>
              <a:t>Second level</a:t>
            </a:r>
          </a:p>
        </p:txBody>
      </p:sp>
      <p:sp>
        <p:nvSpPr>
          <p:cNvPr id="14" name="Content Placeholder 2"/>
          <p:cNvSpPr>
            <a:spLocks noGrp="1"/>
          </p:cNvSpPr>
          <p:nvPr>
            <p:ph sz="quarter" idx="17"/>
          </p:nvPr>
        </p:nvSpPr>
        <p:spPr>
          <a:xfrm>
            <a:off x="7571058"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dirty="0"/>
              <a:t>Click to edit Master text styles</a:t>
            </a:r>
          </a:p>
          <a:p>
            <a:pPr lvl="1"/>
            <a:r>
              <a:rPr lang="en-US" dirty="0"/>
              <a:t>Second level</a:t>
            </a:r>
          </a:p>
        </p:txBody>
      </p:sp>
      <p:sp>
        <p:nvSpPr>
          <p:cNvPr id="15" name="TextBox 1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19011776"/>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mall Title and Content with Label">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6" name="Rectangle 5"/>
          <p:cNvSpPr/>
          <p:nvPr userDrawn="1"/>
        </p:nvSpPr>
        <p:spPr>
          <a:xfrm>
            <a:off x="0" y="5712984"/>
            <a:ext cx="1905001" cy="625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ctr"/>
            <a:endParaRPr lang="en-US" dirty="0">
              <a:ln>
                <a:solidFill>
                  <a:srgbClr val="FFFFFF">
                    <a:alpha val="0"/>
                  </a:srgbClr>
                </a:solidFill>
              </a:ln>
              <a:solidFill>
                <a:srgbClr val="FFFFFF"/>
              </a:solidFill>
            </a:endParaRPr>
          </a:p>
        </p:txBody>
      </p:sp>
      <p:sp>
        <p:nvSpPr>
          <p:cNvPr id="2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dirty="0"/>
          </a:p>
        </p:txBody>
      </p:sp>
      <p:sp>
        <p:nvSpPr>
          <p:cNvPr id="25" name="Text Placeholder 5"/>
          <p:cNvSpPr>
            <a:spLocks noGrp="1"/>
          </p:cNvSpPr>
          <p:nvPr>
            <p:ph type="body" sz="quarter" idx="13"/>
          </p:nvPr>
        </p:nvSpPr>
        <p:spPr>
          <a:xfrm>
            <a:off x="95667" y="5803735"/>
            <a:ext cx="1695034" cy="444665"/>
          </a:xfrm>
          <a:prstGeom prst="rect">
            <a:avLst/>
          </a:prstGeom>
        </p:spPr>
        <p:txBody>
          <a:bodyPr lIns="91440" tIns="91440" rIns="91440" bIns="91440" anchor="ctr" anchorCtr="0"/>
          <a:lstStyle>
            <a:lvl1pPr marL="0" indent="0">
              <a:buNone/>
              <a:defRPr lang="en-US" sz="1600" kern="1200" spc="0" dirty="0">
                <a:ln w="3175">
                  <a:noFill/>
                </a:ln>
                <a:solidFill>
                  <a:srgbClr val="505050"/>
                </a:solidFill>
                <a:latin typeface="+mn-lt"/>
                <a:ea typeface="ＭＳ Ｐゴシック" charset="0"/>
                <a:cs typeface="Segoe UI" pitchFamily="34" charset="0"/>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a:t>
            </a:r>
          </a:p>
        </p:txBody>
      </p:sp>
      <p:sp>
        <p:nvSpPr>
          <p:cNvPr id="26"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dirty="0"/>
              <a:t>Click to edit Master title style</a:t>
            </a:r>
          </a:p>
        </p:txBody>
      </p:sp>
      <p:sp>
        <p:nvSpPr>
          <p:cNvPr id="27" name="Content Placeholder 2"/>
          <p:cNvSpPr>
            <a:spLocks noGrp="1"/>
          </p:cNvSpPr>
          <p:nvPr>
            <p:ph sz="quarter" idx="16"/>
          </p:nvPr>
        </p:nvSpPr>
        <p:spPr>
          <a:xfrm>
            <a:off x="3047516" y="742950"/>
            <a:ext cx="8874610" cy="5372100"/>
          </a:xfrm>
        </p:spPr>
        <p:txBody>
          <a:bodyPr/>
          <a:lstStyle>
            <a:lvl1pPr marL="0" indent="0">
              <a:spcBef>
                <a:spcPts val="1200"/>
              </a:spcBef>
              <a:buNone/>
              <a:defRPr sz="2800"/>
            </a:lvl1pPr>
            <a:lvl2pPr>
              <a:spcBef>
                <a:spcPts val="1200"/>
              </a:spcBef>
              <a:defRPr sz="2000"/>
            </a:lvl2pPr>
            <a:lvl3pPr>
              <a:defRPr sz="1800"/>
            </a:lvl3pPr>
          </a:lstStyle>
          <a:p>
            <a:pPr lvl="0"/>
            <a:r>
              <a:rPr lang="en-US" dirty="0"/>
              <a:t>Click to edit Master text styles</a:t>
            </a:r>
          </a:p>
          <a:p>
            <a:pPr lvl="1"/>
            <a:r>
              <a:rPr lang="en-US" dirty="0"/>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277386255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Freeform 9"/>
          <p:cNvSpPr>
            <a:spLocks/>
          </p:cNvSpPr>
          <p:nvPr userDrawn="1"/>
        </p:nvSpPr>
        <p:spPr bwMode="auto">
          <a:xfrm rot="10800000" flipH="1" flipV="1">
            <a:off x="9144484"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6" name="Text Placeholder 5"/>
          <p:cNvSpPr>
            <a:spLocks noGrp="1"/>
          </p:cNvSpPr>
          <p:nvPr>
            <p:ph type="body" sz="quarter" idx="13"/>
          </p:nvPr>
        </p:nvSpPr>
        <p:spPr>
          <a:xfrm>
            <a:off x="269241" y="1022327"/>
            <a:ext cx="9369016"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7" y="286381"/>
            <a:ext cx="10094273" cy="774046"/>
          </a:xfrm>
          <a:prstGeom prst="rect">
            <a:avLst/>
          </a:prstGeom>
        </p:spPr>
        <p:txBody>
          <a:bodyPr/>
          <a:lstStyle>
            <a:lvl1pPr algn="l">
              <a:defRPr sz="4400">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pPr/>
              <a:t>‹#›</a:t>
            </a:fld>
            <a:endParaRPr lang="en-US" dirty="0"/>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349531755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Color w/Photo Block Title on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7415" r="64992"/>
          <a:stretch/>
        </p:blipFill>
        <p:spPr>
          <a:xfrm>
            <a:off x="-1" y="-1"/>
            <a:ext cx="5676901" cy="6858002"/>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26"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417459538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Color w/Photo Block Title on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1674" r="50733"/>
          <a:stretch/>
        </p:blipFill>
        <p:spPr>
          <a:xfrm>
            <a:off x="-1" y="-1"/>
            <a:ext cx="5676901" cy="6858002"/>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12"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12762742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Color w/Photo Block Title on Lef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54154" r="18253"/>
          <a:stretch/>
        </p:blipFill>
        <p:spPr>
          <a:xfrm>
            <a:off x="-1" y="-1"/>
            <a:ext cx="5676901" cy="6858002"/>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12"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169758205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716828334"/>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olor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1"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10"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254198282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lor Block Content on Right">
    <p:spTree>
      <p:nvGrpSpPr>
        <p:cNvPr id="1" name=""/>
        <p:cNvGrpSpPr/>
        <p:nvPr/>
      </p:nvGrpSpPr>
      <p:grpSpPr>
        <a:xfrm>
          <a:off x="0" y="0"/>
          <a:ext cx="0" cy="0"/>
          <a:chOff x="0" y="0"/>
          <a:chExt cx="0" cy="0"/>
        </a:xfrm>
      </p:grpSpPr>
      <p:sp>
        <p:nvSpPr>
          <p:cNvPr id="21" name="Freeform 20"/>
          <p:cNvSpPr/>
          <p:nvPr userDrawn="1"/>
        </p:nvSpPr>
        <p:spPr bwMode="auto">
          <a:xfrm>
            <a:off x="4009781"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chemeClr val="bg1"/>
              </a:solidFill>
              <a:latin typeface="+mj-lt"/>
              <a:ea typeface="Segoe UI" pitchFamily="34" charset="0"/>
              <a:cs typeface="Segoe UI" pitchFamily="34" charset="0"/>
            </a:endParaRPr>
          </a:p>
        </p:txBody>
      </p:sp>
      <p:sp>
        <p:nvSpPr>
          <p:cNvPr id="7" name="Title 2"/>
          <p:cNvSpPr>
            <a:spLocks noGrp="1"/>
          </p:cNvSpPr>
          <p:nvPr>
            <p:ph type="title"/>
          </p:nvPr>
        </p:nvSpPr>
        <p:spPr>
          <a:xfrm>
            <a:off x="472128" y="1108673"/>
            <a:ext cx="4432965" cy="927940"/>
          </a:xfrm>
          <a:prstGeom prst="rect">
            <a:avLst/>
          </a:prstGeom>
        </p:spPr>
        <p:txBody>
          <a:bodyPr/>
          <a:lstStyle>
            <a:lvl1pPr algn="l">
              <a:defRPr sz="4400" spc="0">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pPr/>
              <a:t>‹#›</a:t>
            </a:fld>
            <a:endParaRPr lang="en-US" dirty="0"/>
          </a:p>
        </p:txBody>
      </p:sp>
      <p:sp>
        <p:nvSpPr>
          <p:cNvPr id="25"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1"/>
                </a:solidFill>
              </a:defRPr>
            </a:lvl1pPr>
            <a:lvl2pPr>
              <a:spcBef>
                <a:spcPts val="1200"/>
              </a:spcBef>
              <a:defRPr sz="1800">
                <a:solidFill>
                  <a:schemeClr val="bg1"/>
                </a:solidFill>
              </a:defRPr>
            </a:lvl2pPr>
            <a:lvl3pPr>
              <a:defRPr sz="1800">
                <a:solidFill>
                  <a:schemeClr val="bg1"/>
                </a:solidFill>
              </a:defRPr>
            </a:lvl3pPr>
          </a:lstStyle>
          <a:p>
            <a:pPr lvl="0"/>
            <a:r>
              <a:rPr lang="en-US" dirty="0"/>
              <a:t>Click to edit Master text styles</a:t>
            </a:r>
          </a:p>
          <a:p>
            <a:pPr lvl="1"/>
            <a:r>
              <a:rPr lang="en-US" dirty="0"/>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bg1"/>
                </a:solidFill>
              </a:rPr>
              <a:t>Microsoft Confidential</a:t>
            </a:r>
          </a:p>
        </p:txBody>
      </p:sp>
    </p:spTree>
    <p:extLst>
      <p:ext uri="{BB962C8B-B14F-4D97-AF65-F5344CB8AC3E}">
        <p14:creationId xmlns:p14="http://schemas.microsoft.com/office/powerpoint/2010/main" val="404718359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dirty="0"/>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chemeClr val="tx2"/>
                </a:solidFill>
              </a:rPr>
              <a:t>Microsoft Confidential</a:t>
            </a:r>
          </a:p>
        </p:txBody>
      </p:sp>
    </p:spTree>
    <p:extLst>
      <p:ext uri="{BB962C8B-B14F-4D97-AF65-F5344CB8AC3E}">
        <p14:creationId xmlns:p14="http://schemas.microsoft.com/office/powerpoint/2010/main" val="220543483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15632581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564914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endParaRPr lang="en-ZA"/>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73862852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7885517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35944533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9263230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4572679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39000">
                      <a:schemeClr val="tx1"/>
                    </a:gs>
                    <a:gs pos="29204">
                      <a:schemeClr val="tx1"/>
                    </a:gs>
                  </a:gsLst>
                  <a:lin ang="5400000" scaled="1"/>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19172549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ZA"/>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0131293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08485670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6"/>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8308419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17715" y="3765177"/>
            <a:ext cx="6966857" cy="1794662"/>
          </a:xfrm>
          <a:noFill/>
        </p:spPr>
        <p:txBody>
          <a:bodyPr lIns="182880" tIns="146304" rIns="182880" bIns="146304">
            <a:noAutofit/>
          </a:bodyPr>
          <a:lstStyle>
            <a:lvl1pPr marL="0" indent="0">
              <a:spcBef>
                <a:spcPts val="0"/>
              </a:spcBef>
              <a:buNone/>
              <a:defRPr sz="2735" spc="0" baseline="0">
                <a:solidFill>
                  <a:srgbClr val="000000"/>
                </a:solidFill>
                <a:latin typeface="+mj-lt"/>
              </a:defRPr>
            </a:lvl1pPr>
          </a:lstStyle>
          <a:p>
            <a:pPr lvl="0"/>
            <a:r>
              <a:rPr lang="en-US"/>
              <a:t>Speaker Name</a:t>
            </a:r>
          </a:p>
        </p:txBody>
      </p:sp>
      <p:sp>
        <p:nvSpPr>
          <p:cNvPr id="9" name="Title 1"/>
          <p:cNvSpPr>
            <a:spLocks noGrp="1"/>
          </p:cNvSpPr>
          <p:nvPr>
            <p:ph type="title" hasCustomPrompt="1"/>
          </p:nvPr>
        </p:nvSpPr>
        <p:spPr>
          <a:xfrm>
            <a:off x="207348" y="1815353"/>
            <a:ext cx="10460653" cy="1801436"/>
          </a:xfrm>
          <a:noFill/>
        </p:spPr>
        <p:txBody>
          <a:bodyPr lIns="164592" tIns="91440" rIns="164592" bIns="91440" anchor="t" anchorCtr="0"/>
          <a:lstStyle>
            <a:lvl1pPr>
              <a:defRPr sz="4587" spc="-76" baseline="0">
                <a:gradFill>
                  <a:gsLst>
                    <a:gs pos="3333">
                      <a:schemeClr val="tx2"/>
                    </a:gs>
                    <a:gs pos="39000">
                      <a:schemeClr val="tx2"/>
                    </a:gs>
                  </a:gsLst>
                  <a:lin ang="5400000" scaled="0"/>
                </a:gradFill>
              </a:defRPr>
            </a:lvl1pPr>
          </a:lstStyle>
          <a:p>
            <a:r>
              <a:rPr lang="en-US"/>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93308" y="362791"/>
            <a:ext cx="1570612" cy="311709"/>
          </a:xfrm>
          <a:prstGeom prst="rect">
            <a:avLst/>
          </a:prstGeom>
        </p:spPr>
      </p:pic>
    </p:spTree>
    <p:extLst>
      <p:ext uri="{BB962C8B-B14F-4D97-AF65-F5344CB8AC3E}">
        <p14:creationId xmlns:p14="http://schemas.microsoft.com/office/powerpoint/2010/main" val="33290388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Comms &amp; Media title slide">
    <p:spTree>
      <p:nvGrpSpPr>
        <p:cNvPr id="1" name=""/>
        <p:cNvGrpSpPr/>
        <p:nvPr/>
      </p:nvGrpSpPr>
      <p:grpSpPr>
        <a:xfrm>
          <a:off x="0" y="0"/>
          <a:ext cx="0" cy="0"/>
          <a:chOff x="0" y="0"/>
          <a:chExt cx="0" cy="0"/>
        </a:xfrm>
      </p:grpSpPr>
      <p:grpSp>
        <p:nvGrpSpPr>
          <p:cNvPr id="10" name="Group 9"/>
          <p:cNvGrpSpPr/>
          <p:nvPr userDrawn="1"/>
        </p:nvGrpSpPr>
        <p:grpSpPr>
          <a:xfrm>
            <a:off x="-1" y="0"/>
            <a:ext cx="12190644" cy="6858000"/>
            <a:chOff x="-1" y="0"/>
            <a:chExt cx="12190644" cy="6858000"/>
          </a:xfrm>
        </p:grpSpPr>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3059563" cy="6858000"/>
            </a:xfrm>
            <a:prstGeom prst="rect">
              <a:avLst/>
            </a:prstGeom>
          </p:spPr>
        </p:pic>
        <p:pic>
          <p:nvPicPr>
            <p:cNvPr id="15" name="Picture 1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059563" y="0"/>
              <a:ext cx="3043694" cy="6858000"/>
            </a:xfrm>
            <a:prstGeom prst="rect">
              <a:avLst/>
            </a:prstGeom>
          </p:spPr>
        </p:pic>
        <p:pic>
          <p:nvPicPr>
            <p:cNvPr id="17" name="Picture 16"/>
            <p:cNvPicPr>
              <a:picLocks noChangeAspect="1"/>
            </p:cNvPicPr>
            <p:nvPr userDrawn="1"/>
          </p:nvPicPr>
          <p:blipFill rotWithShape="1">
            <a:blip r:embed="rId4" cstate="screen">
              <a:extLst>
                <a:ext uri="{28A0092B-C50C-407E-A947-70E740481C1C}">
                  <a14:useLocalDpi xmlns:a14="http://schemas.microsoft.com/office/drawing/2010/main"/>
                </a:ext>
              </a:extLst>
            </a:blip>
            <a:srcRect t="-67"/>
            <a:stretch/>
          </p:blipFill>
          <p:spPr>
            <a:xfrm>
              <a:off x="6103257" y="0"/>
              <a:ext cx="3043695" cy="6858000"/>
            </a:xfrm>
            <a:prstGeom prst="rect">
              <a:avLst/>
            </a:prstGeom>
          </p:spPr>
        </p:pic>
        <p:pic>
          <p:nvPicPr>
            <p:cNvPr id="18" name="Picture 17"/>
            <p:cNvPicPr>
              <a:picLocks noChangeAspect="1"/>
            </p:cNvPicPr>
            <p:nvPr userDrawn="1"/>
          </p:nvPicPr>
          <p:blipFill rotWithShape="1">
            <a:blip r:embed="rId5" cstate="screen">
              <a:extLst>
                <a:ext uri="{28A0092B-C50C-407E-A947-70E740481C1C}">
                  <a14:useLocalDpi xmlns:a14="http://schemas.microsoft.com/office/drawing/2010/main"/>
                </a:ext>
              </a:extLst>
            </a:blip>
            <a:srcRect b="-101"/>
            <a:stretch/>
          </p:blipFill>
          <p:spPr>
            <a:xfrm flipH="1">
              <a:off x="9146946" y="0"/>
              <a:ext cx="3043697" cy="6858000"/>
            </a:xfrm>
            <a:prstGeom prst="rect">
              <a:avLst/>
            </a:prstGeom>
          </p:spPr>
        </p:pic>
      </p:grpSp>
      <p:sp>
        <p:nvSpPr>
          <p:cNvPr id="6" name="Rectangle 5"/>
          <p:cNvSpPr/>
          <p:nvPr/>
        </p:nvSpPr>
        <p:spPr>
          <a:xfrm>
            <a:off x="0" y="0"/>
            <a:ext cx="5404104"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5175505" cy="3616381"/>
          </a:xfrm>
          <a:noFill/>
        </p:spPr>
        <p:txBody>
          <a:bodyPr vert="horz" lIns="137160" tIns="91440" rIns="137160" bIns="0" rtlCol="0" anchor="b" anchorCtr="0">
            <a:normAutofit/>
          </a:bodyPr>
          <a:lstStyle>
            <a:lvl1pPr algn="l">
              <a:defRPr lang="en-US" sz="4800" b="1" spc="-100" baseline="0" dirty="0">
                <a:solidFill>
                  <a:schemeClr val="bg1"/>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1"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pic>
        <p:nvPicPr>
          <p:cNvPr id="11"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246659" y="7903765"/>
            <a:ext cx="1740540" cy="640080"/>
          </a:xfrm>
          <a:prstGeom prst="rect">
            <a:avLst/>
          </a:prstGeom>
        </p:spPr>
      </p:pic>
      <p:sp>
        <p:nvSpPr>
          <p:cNvPr id="5" name="Text Placeholder 4"/>
          <p:cNvSpPr>
            <a:spLocks noGrp="1"/>
          </p:cNvSpPr>
          <p:nvPr>
            <p:ph type="body" sz="quarter" idx="11"/>
          </p:nvPr>
        </p:nvSpPr>
        <p:spPr>
          <a:xfrm>
            <a:off x="228600" y="3891806"/>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4" name="Picture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46659" y="5993178"/>
            <a:ext cx="1737792" cy="639069"/>
          </a:xfrm>
          <a:prstGeom prst="rect">
            <a:avLst/>
          </a:prstGeom>
        </p:spPr>
      </p:pic>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46659" y="5993178"/>
            <a:ext cx="1737792" cy="639069"/>
          </a:xfrm>
          <a:prstGeom prst="rect">
            <a:avLst/>
          </a:prstGeom>
        </p:spPr>
      </p:pic>
    </p:spTree>
    <p:extLst>
      <p:ext uri="{BB962C8B-B14F-4D97-AF65-F5344CB8AC3E}">
        <p14:creationId xmlns:p14="http://schemas.microsoft.com/office/powerpoint/2010/main" val="2590398051"/>
      </p:ext>
    </p:extLst>
  </p:cSld>
  <p:clrMapOvr>
    <a:masterClrMapping/>
  </p:clrMapOvr>
  <p:transition>
    <p:fade/>
  </p:transition>
  <p:extLst>
    <p:ext uri="{DCECCB84-F9BA-43D5-87BE-67443E8EF086}">
      <p15:sldGuideLst xmlns:p15="http://schemas.microsoft.com/office/powerpoint/2012/main">
        <p15:guide id="1" pos="4127">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30" indent="0">
              <a:buNone/>
              <a:defRPr sz="2000">
                <a:gradFill>
                  <a:gsLst>
                    <a:gs pos="100000">
                      <a:schemeClr val="bg2"/>
                    </a:gs>
                    <a:gs pos="0">
                      <a:schemeClr val="bg2"/>
                    </a:gs>
                  </a:gsLst>
                  <a:lin ang="5400000" scaled="0"/>
                </a:gradFill>
              </a:defRPr>
            </a:lvl3pPr>
            <a:lvl4pPr marL="457112" indent="0">
              <a:buNone/>
              <a:defRPr sz="2000">
                <a:gradFill>
                  <a:gsLst>
                    <a:gs pos="100000">
                      <a:schemeClr val="bg2"/>
                    </a:gs>
                    <a:gs pos="0">
                      <a:schemeClr val="bg2"/>
                    </a:gs>
                  </a:gsLst>
                  <a:lin ang="5400000" scaled="0"/>
                </a:gradFill>
              </a:defRPr>
            </a:lvl4pPr>
            <a:lvl5pPr marL="693604"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5"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00924824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6865071" y="0"/>
            <a:ext cx="5326931" cy="484094"/>
          </a:xfrm>
        </p:spPr>
        <p:txBody>
          <a:bodyPr vert="horz" wrap="square" lIns="127337" tIns="79586" rIns="127337" bIns="79586" rtlCol="0" anchor="t">
            <a:noAutofit/>
          </a:bodyPr>
          <a:lstStyle>
            <a:lvl1pPr marL="0" indent="0" algn="r" defTabSz="720662">
              <a:buFontTx/>
              <a:buNone/>
              <a:defRPr lang="en-US" sz="1235" b="0" cap="none" baseline="0" dirty="0">
                <a:ln w="3175">
                  <a:noFill/>
                </a:ln>
                <a:solidFill>
                  <a:schemeClr val="tx1"/>
                </a:solidFill>
                <a:effectLst/>
                <a:latin typeface="+mn-lt"/>
                <a:cs typeface="Segoe UI" pitchFamily="34" charset="0"/>
              </a:defRPr>
            </a:lvl1pPr>
          </a:lstStyle>
          <a:p>
            <a:pPr algn="r" defTabSz="735144"/>
            <a:r>
              <a:rPr lang="en-GB" sz="1059" dirty="0">
                <a:latin typeface="Segoe UI Light"/>
              </a:rPr>
              <a:t>Presenter: Insert Name / OneNote page:  / Slide 1 of X</a:t>
            </a:r>
            <a:endParaRPr lang="en-US" sz="1059" dirty="0">
              <a:latin typeface="Segoe UI Light"/>
            </a:endParaRPr>
          </a:p>
        </p:txBody>
      </p:sp>
      <p:sp>
        <p:nvSpPr>
          <p:cNvPr id="9" name="Title 1"/>
          <p:cNvSpPr>
            <a:spLocks noGrp="1"/>
          </p:cNvSpPr>
          <p:nvPr>
            <p:ph type="title"/>
          </p:nvPr>
        </p:nvSpPr>
        <p:spPr>
          <a:xfrm>
            <a:off x="217716" y="201706"/>
            <a:ext cx="7402286" cy="484094"/>
          </a:xfrm>
        </p:spPr>
        <p:txBody>
          <a:bodyPr lIns="45720" rIns="0" anchor="b"/>
          <a:lstStyle>
            <a:lvl1pPr>
              <a:defRPr sz="2116">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08440021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_Title Slide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0644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036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46143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FC509-D650-4DA0-B7DB-41E48F18D17A}"/>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F595BD41-04A9-4324-801C-F9BE92D4988D}"/>
              </a:ext>
            </a:extLst>
          </p:cNvPr>
          <p:cNvSpPr>
            <a:spLocks noGrp="1"/>
          </p:cNvSpPr>
          <p:nvPr>
            <p:ph type="subTitle" idx="1"/>
          </p:nvPr>
        </p:nvSpPr>
        <p:spPr>
          <a:xfrm>
            <a:off x="1524000" y="3602038"/>
            <a:ext cx="9144000" cy="165576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86A6F2-6E8C-4256-A844-9C00FF7CE7B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694EE89-5860-416F-9DB7-38E8E7B71799}"/>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1A213103-DDCE-4207-9016-A2A50F00B6E5}"/>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232886121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31764-6FAE-4B88-925C-7338BAF66A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3711C1-5E1A-4EB3-A707-7DBFF8387A8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E7E5AF-28EE-4736-9238-984CA95202F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1C72BC7-18EF-4275-9C26-EF0EE13B154B}"/>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FE2E1E1A-31CD-49A8-8E3B-87B62360B86E}"/>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389051847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F0F66-6740-495E-A61C-12D4AE0B3CCA}"/>
              </a:ext>
            </a:extLst>
          </p:cNvPr>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a:extLst>
              <a:ext uri="{FF2B5EF4-FFF2-40B4-BE49-F238E27FC236}">
                <a16:creationId xmlns:a16="http://schemas.microsoft.com/office/drawing/2014/main" id="{C5A69607-0109-4080-BD28-FA42E482C5E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29262D5-1515-42CD-B672-BF15DA6C627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7AC33F4-F424-46E5-97D3-DB8334C185E9}"/>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818869C0-BA87-40C0-8510-B5590478F6CF}"/>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381784300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85D80-DE8F-4487-8E2A-0BAF4551CC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943DEE-1C57-47DE-BF75-5391CD4C566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E070A06-4BD7-4FC0-954D-E82783CE965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9168270-91D4-4A10-921F-C0AD26C8566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8712957-C357-40A9-BB6D-5748E80AB9B7}"/>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5179D0F1-E055-4BC9-9F05-4BE395F99F57}"/>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143364814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A097E-BC92-4F2D-A753-F855EFAD3170}"/>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0FF9C27-40CA-4EF2-B77B-7BBA4C6A85CA}"/>
              </a:ext>
            </a:extLst>
          </p:cNvPr>
          <p:cNvSpPr>
            <a:spLocks noGrp="1"/>
          </p:cNvSpPr>
          <p:nvPr>
            <p:ph type="body" idx="1"/>
          </p:nvPr>
        </p:nvSpPr>
        <p:spPr>
          <a:xfrm>
            <a:off x="839789" y="1681163"/>
            <a:ext cx="5157787"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6FCD718-BFD3-43C9-843F-DBEFB10F6730}"/>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99129AD-1603-454C-A712-91089C5809A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6855691-A7D0-4E61-B1F2-9CE547F0872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28BE96F-FDA4-4423-A32E-8979E31DC1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32D07652-AD02-4D94-A4A4-02B363A18DBF}"/>
              </a:ext>
            </a:extLst>
          </p:cNvPr>
          <p:cNvSpPr>
            <a:spLocks noGrp="1"/>
          </p:cNvSpPr>
          <p:nvPr>
            <p:ph type="ftr" sz="quarter" idx="11"/>
          </p:nvPr>
        </p:nvSpPr>
        <p:spPr/>
        <p:txBody>
          <a:bodyPr/>
          <a:lstStyle/>
          <a:p>
            <a:r>
              <a:rPr lang="en-US"/>
              <a:t>Microsoft Confidential</a:t>
            </a:r>
          </a:p>
        </p:txBody>
      </p:sp>
      <p:sp>
        <p:nvSpPr>
          <p:cNvPr id="9" name="Slide Number Placeholder 8">
            <a:extLst>
              <a:ext uri="{FF2B5EF4-FFF2-40B4-BE49-F238E27FC236}">
                <a16:creationId xmlns:a16="http://schemas.microsoft.com/office/drawing/2014/main" id="{CAF92F15-8978-4A26-B7EF-BF5D235672FD}"/>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355219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CE03E-6A39-4C7E-8022-F7E5D039A2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115D06-2AE7-43DF-9F82-B6E0D85E7DE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286CF4F-E0E7-401A-B682-8891068075C4}"/>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55E15441-E31C-4193-A694-9229472E4701}"/>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111247668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B1B39C1-4169-469F-8C7B-6A3CD26D361B}"/>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A2214C7-BC7A-4510-84F8-6BBCB2BDA3FE}"/>
              </a:ext>
            </a:extLst>
          </p:cNvPr>
          <p:cNvSpPr>
            <a:spLocks noGrp="1"/>
          </p:cNvSpPr>
          <p:nvPr>
            <p:ph type="ftr" sz="quarter" idx="11"/>
          </p:nvPr>
        </p:nvSpPr>
        <p:spPr/>
        <p:txBody>
          <a:bodyPr/>
          <a:lstStyle/>
          <a:p>
            <a:r>
              <a:rPr lang="en-US"/>
              <a:t>Microsoft Confidential</a:t>
            </a:r>
          </a:p>
        </p:txBody>
      </p:sp>
      <p:sp>
        <p:nvSpPr>
          <p:cNvPr id="4" name="Slide Number Placeholder 3">
            <a:extLst>
              <a:ext uri="{FF2B5EF4-FFF2-40B4-BE49-F238E27FC236}">
                <a16:creationId xmlns:a16="http://schemas.microsoft.com/office/drawing/2014/main" id="{E9CEA47B-81F7-4373-B5E7-DCF068D9B6A1}"/>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208492918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7EFBB-6387-48EB-A4AF-B9AB7F4A34C3}"/>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B11AD8-BC4B-4E4A-92B7-955BCCE9A551}"/>
              </a:ext>
            </a:extLst>
          </p:cNvPr>
          <p:cNvSpPr>
            <a:spLocks noGrp="1"/>
          </p:cNvSpPr>
          <p:nvPr>
            <p:ph idx="1"/>
          </p:nvPr>
        </p:nvSpPr>
        <p:spPr>
          <a:xfrm>
            <a:off x="5183189"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30B138-D6BC-45CC-835A-77D5AF9E1E1C}"/>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01F796E-3BB4-46AA-A8E6-1E651DD8B94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9FECCDC-544B-40B9-8C41-FD167509F639}"/>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3981A7D8-3422-4646-844D-3D50EB5EDF61}"/>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307618780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7D68F-8872-470B-BC3A-376A3CB525CA}"/>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8065D76-49BD-4095-AD6E-B14C1FFDA526}"/>
              </a:ext>
            </a:extLst>
          </p:cNvPr>
          <p:cNvSpPr>
            <a:spLocks noGrp="1"/>
          </p:cNvSpPr>
          <p:nvPr>
            <p:ph type="pic" idx="1"/>
          </p:nvPr>
        </p:nvSpPr>
        <p:spPr>
          <a:xfrm>
            <a:off x="5183189" y="987426"/>
            <a:ext cx="6172200" cy="4873625"/>
          </a:xfrm>
        </p:spPr>
        <p:txBody>
          <a:bodyPr/>
          <a:lstStyle>
            <a:lvl1pPr marL="0" indent="0">
              <a:buNone/>
              <a:defRPr sz="3200"/>
            </a:lvl1pPr>
            <a:lvl2pPr marL="457112" indent="0">
              <a:buNone/>
              <a:defRPr sz="2800"/>
            </a:lvl2pPr>
            <a:lvl3pPr marL="914225" indent="0">
              <a:buNone/>
              <a:defRPr sz="2400"/>
            </a:lvl3pPr>
            <a:lvl4pPr marL="1371337" indent="0">
              <a:buNone/>
              <a:defRPr sz="2000"/>
            </a:lvl4pPr>
            <a:lvl5pPr marL="1828449" indent="0">
              <a:buNone/>
              <a:defRPr sz="2000"/>
            </a:lvl5pPr>
            <a:lvl6pPr marL="2285561" indent="0">
              <a:buNone/>
              <a:defRPr sz="2000"/>
            </a:lvl6pPr>
            <a:lvl7pPr marL="2742674" indent="0">
              <a:buNone/>
              <a:defRPr sz="2000"/>
            </a:lvl7pPr>
            <a:lvl8pPr marL="3199785" indent="0">
              <a:buNone/>
              <a:defRPr sz="2000"/>
            </a:lvl8pPr>
            <a:lvl9pPr marL="3656897" indent="0">
              <a:buNone/>
              <a:defRPr sz="2000"/>
            </a:lvl9pPr>
          </a:lstStyle>
          <a:p>
            <a:endParaRPr lang="en-US"/>
          </a:p>
        </p:txBody>
      </p:sp>
      <p:sp>
        <p:nvSpPr>
          <p:cNvPr id="4" name="Text Placeholder 3">
            <a:extLst>
              <a:ext uri="{FF2B5EF4-FFF2-40B4-BE49-F238E27FC236}">
                <a16:creationId xmlns:a16="http://schemas.microsoft.com/office/drawing/2014/main" id="{EF55924E-990A-432D-9BA6-49DA7BDA5E67}"/>
              </a:ext>
            </a:extLst>
          </p:cNvPr>
          <p:cNvSpPr>
            <a:spLocks noGrp="1"/>
          </p:cNvSpPr>
          <p:nvPr>
            <p:ph type="body" sz="half" idx="2"/>
          </p:nvPr>
        </p:nvSpPr>
        <p:spPr>
          <a:xfrm>
            <a:off x="839789" y="2057400"/>
            <a:ext cx="3932237" cy="3811588"/>
          </a:xfrm>
        </p:spPr>
        <p:txBody>
          <a:bodyPr/>
          <a:lstStyle>
            <a:lvl1pPr marL="0" indent="0">
              <a:buNone/>
              <a:defRPr sz="1600"/>
            </a:lvl1pPr>
            <a:lvl2pPr marL="457112" indent="0">
              <a:buNone/>
              <a:defRPr sz="1400"/>
            </a:lvl2pPr>
            <a:lvl3pPr marL="914225" indent="0">
              <a:buNone/>
              <a:defRPr sz="1200"/>
            </a:lvl3pPr>
            <a:lvl4pPr marL="1371337" indent="0">
              <a:buNone/>
              <a:defRPr sz="1000"/>
            </a:lvl4pPr>
            <a:lvl5pPr marL="1828449" indent="0">
              <a:buNone/>
              <a:defRPr sz="1000"/>
            </a:lvl5pPr>
            <a:lvl6pPr marL="2285561" indent="0">
              <a:buNone/>
              <a:defRPr sz="1000"/>
            </a:lvl6pPr>
            <a:lvl7pPr marL="2742674" indent="0">
              <a:buNone/>
              <a:defRPr sz="1000"/>
            </a:lvl7pPr>
            <a:lvl8pPr marL="3199785" indent="0">
              <a:buNone/>
              <a:defRPr sz="1000"/>
            </a:lvl8pPr>
            <a:lvl9pPr marL="3656897"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65C07DE-1FCF-490F-9CDC-7971F52C7D2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C0BE644-C664-40C8-9E71-51414707A3BF}"/>
              </a:ext>
            </a:extLst>
          </p:cNvPr>
          <p:cNvSpPr>
            <a:spLocks noGrp="1"/>
          </p:cNvSpPr>
          <p:nvPr>
            <p:ph type="ftr" sz="quarter" idx="11"/>
          </p:nvPr>
        </p:nvSpPr>
        <p:spPr/>
        <p:txBody>
          <a:bodyPr/>
          <a:lstStyle/>
          <a:p>
            <a:r>
              <a:rPr lang="en-US"/>
              <a:t>Microsoft Confidential</a:t>
            </a:r>
          </a:p>
        </p:txBody>
      </p:sp>
      <p:sp>
        <p:nvSpPr>
          <p:cNvPr id="7" name="Slide Number Placeholder 6">
            <a:extLst>
              <a:ext uri="{FF2B5EF4-FFF2-40B4-BE49-F238E27FC236}">
                <a16:creationId xmlns:a16="http://schemas.microsoft.com/office/drawing/2014/main" id="{34A5C53F-CB51-40CB-BB17-A2D9348800EF}"/>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921448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cenes">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A1F0EA1-8EE4-4241-A453-2ED7B139E2A1}"/>
              </a:ext>
            </a:extLst>
          </p:cNvPr>
          <p:cNvSpPr/>
          <p:nvPr userDrawn="1"/>
        </p:nvSpPr>
        <p:spPr bwMode="auto">
          <a:xfrm>
            <a:off x="6540499" y="0"/>
            <a:ext cx="5651500" cy="6858000"/>
          </a:xfrm>
          <a:prstGeom prst="rect">
            <a:avLst/>
          </a:prstGeom>
          <a:blipFill>
            <a:blip r:embed="rId2"/>
            <a:srcRect/>
            <a:stretch>
              <a:fillRect l="-58057" r="-58057"/>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FD7D4721-ECE3-4E29-B4F6-5869EF8DCCDC}"/>
              </a:ext>
            </a:extLst>
          </p:cNvPr>
          <p:cNvSpPr/>
          <p:nvPr userDrawn="1"/>
        </p:nvSpPr>
        <p:spPr bwMode="auto">
          <a:xfrm>
            <a:off x="6540500" y="0"/>
            <a:ext cx="5651500" cy="6858000"/>
          </a:xfrm>
          <a:prstGeom prst="rect">
            <a:avLst/>
          </a:prstGeom>
          <a:solidFill>
            <a:schemeClr val="bg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23" name="MS logo gray - EMF" descr="Microsoft logo, gray text version">
            <a:extLst>
              <a:ext uri="{FF2B5EF4-FFF2-40B4-BE49-F238E27FC236}">
                <a16:creationId xmlns:a16="http://schemas.microsoft.com/office/drawing/2014/main" id="{FAB28B98-4026-460D-94B6-D009FA2AB812}"/>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
        <p:nvSpPr>
          <p:cNvPr id="24" name="Title 1">
            <a:extLst>
              <a:ext uri="{FF2B5EF4-FFF2-40B4-BE49-F238E27FC236}">
                <a16:creationId xmlns:a16="http://schemas.microsoft.com/office/drawing/2014/main" id="{935A4F88-4052-4251-9832-3D8AA59FF737}"/>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25" name="Text Placeholder 4">
            <a:extLst>
              <a:ext uri="{FF2B5EF4-FFF2-40B4-BE49-F238E27FC236}">
                <a16:creationId xmlns:a16="http://schemas.microsoft.com/office/drawing/2014/main" id="{BAAEA26F-8EF6-45FB-8055-AC3C827E51AE}"/>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30" name="Rectangle 29">
            <a:extLst>
              <a:ext uri="{FF2B5EF4-FFF2-40B4-BE49-F238E27FC236}">
                <a16:creationId xmlns:a16="http://schemas.microsoft.com/office/drawing/2014/main" id="{4C2A9EE8-463D-4464-991F-610C49032B29}"/>
              </a:ext>
            </a:extLst>
          </p:cNvPr>
          <p:cNvSpPr/>
          <p:nvPr userDrawn="1"/>
        </p:nvSpPr>
        <p:spPr bwMode="auto">
          <a:xfrm>
            <a:off x="6978650" y="358718"/>
            <a:ext cx="4775200" cy="6140564"/>
          </a:xfrm>
          <a:prstGeom prst="rect">
            <a:avLst/>
          </a:prstGeom>
          <a:blipFill>
            <a:blip r:embed="rId2"/>
            <a:srcRect/>
            <a:stretch>
              <a:fillRect l="-64509" r="-64509"/>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34">
            <a:extLst>
              <a:ext uri="{FF2B5EF4-FFF2-40B4-BE49-F238E27FC236}">
                <a16:creationId xmlns:a16="http://schemas.microsoft.com/office/drawing/2014/main" id="{55672EA4-D2B4-4A08-B16C-DBA2A4DEEC43}"/>
              </a:ext>
              <a:ext uri="{C183D7F6-B498-43B3-948B-1728B52AA6E4}">
                <adec:decorative xmlns:adec="http://schemas.microsoft.com/office/drawing/2017/decorative" val="1"/>
              </a:ext>
            </a:extLst>
          </p:cNvPr>
          <p:cNvGrpSpPr/>
          <p:nvPr userDrawn="1"/>
        </p:nvGrpSpPr>
        <p:grpSpPr>
          <a:xfrm>
            <a:off x="6541770" y="3636226"/>
            <a:ext cx="5650230" cy="195488"/>
            <a:chOff x="6541770" y="3636226"/>
            <a:chExt cx="5650230" cy="195488"/>
          </a:xfrm>
          <a:solidFill>
            <a:schemeClr val="accent3">
              <a:alpha val="50000"/>
            </a:schemeClr>
          </a:solidFill>
        </p:grpSpPr>
        <p:sp>
          <p:nvSpPr>
            <p:cNvPr id="36" name="Rectangle 35">
              <a:extLst>
                <a:ext uri="{FF2B5EF4-FFF2-40B4-BE49-F238E27FC236}">
                  <a16:creationId xmlns:a16="http://schemas.microsoft.com/office/drawing/2014/main" id="{A9726984-CA54-4CF4-A565-BC54F03CA6E7}"/>
                </a:ext>
              </a:extLst>
            </p:cNvPr>
            <p:cNvSpPr/>
            <p:nvPr/>
          </p:nvSpPr>
          <p:spPr bwMode="auto">
            <a:xfrm>
              <a:off x="6979920" y="3636226"/>
              <a:ext cx="4773929" cy="130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a:extLst>
                <a:ext uri="{FF2B5EF4-FFF2-40B4-BE49-F238E27FC236}">
                  <a16:creationId xmlns:a16="http://schemas.microsoft.com/office/drawing/2014/main" id="{1ADBE700-9AC3-488F-B132-9405746EAD07}"/>
                </a:ext>
              </a:extLst>
            </p:cNvPr>
            <p:cNvSpPr/>
            <p:nvPr/>
          </p:nvSpPr>
          <p:spPr bwMode="auto">
            <a:xfrm>
              <a:off x="11753850" y="3701539"/>
              <a:ext cx="438150" cy="130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a:extLst>
                <a:ext uri="{FF2B5EF4-FFF2-40B4-BE49-F238E27FC236}">
                  <a16:creationId xmlns:a16="http://schemas.microsoft.com/office/drawing/2014/main" id="{2C2D41EE-31A8-459D-B78F-A57B1601CAD9}"/>
                </a:ext>
              </a:extLst>
            </p:cNvPr>
            <p:cNvSpPr/>
            <p:nvPr/>
          </p:nvSpPr>
          <p:spPr bwMode="auto">
            <a:xfrm>
              <a:off x="6541770" y="3701539"/>
              <a:ext cx="438150" cy="1301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304780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39000">
                      <a:schemeClr val="tx1"/>
                    </a:gs>
                    <a:gs pos="29204">
                      <a:schemeClr val="tx1"/>
                    </a:gs>
                  </a:gsLst>
                  <a:lin ang="5400000" scaled="1"/>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A6D6B-C2C3-4E9C-A606-22FB513BF00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19367A3-DCEF-46BC-A4E4-6D7E5D012E0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D77BBB-CFC9-488C-A5BF-80AB02C075E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CB311CE-A966-4D1C-8839-4836ADD8605B}"/>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02720279-3D45-41CC-8E5B-25D0D892BB9B}"/>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248563848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A1264B1-B332-48C4-B01E-5E88B555EEA3}"/>
              </a:ext>
            </a:extLst>
          </p:cNvPr>
          <p:cNvSpPr>
            <a:spLocks noGrp="1"/>
          </p:cNvSpPr>
          <p:nvPr>
            <p:ph type="title" orient="vert"/>
          </p:nvPr>
        </p:nvSpPr>
        <p:spPr>
          <a:xfrm>
            <a:off x="8724900"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8A715CD-2430-4805-9146-AF7BB4A77C4C}"/>
              </a:ext>
            </a:extLst>
          </p:cNvPr>
          <p:cNvSpPr>
            <a:spLocks noGrp="1"/>
          </p:cNvSpPr>
          <p:nvPr>
            <p:ph type="body" orient="vert" idx="1"/>
          </p:nvPr>
        </p:nvSpPr>
        <p:spPr>
          <a:xfrm>
            <a:off x="838201" y="365126"/>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DAD101-DA90-4A4C-BF0A-73090A9C57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140EC6C-56C3-49CA-B3E9-E834038225C2}"/>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5DB18CD2-E835-459E-B83E-A847140E43C7}"/>
              </a:ext>
            </a:extLst>
          </p:cNvPr>
          <p:cNvSpPr>
            <a:spLocks noGrp="1"/>
          </p:cNvSpPr>
          <p:nvPr>
            <p:ph type="sldNum" sz="quarter" idx="12"/>
          </p:nvPr>
        </p:nvSpPr>
        <p:spPr/>
        <p:txBody>
          <a:bodyPr/>
          <a:lstStyle/>
          <a:p>
            <a:fld id="{DEC534D7-898C-4D07-9BFD-8F94EE1CFE1F}" type="slidenum">
              <a:rPr lang="en-US" smtClean="0"/>
              <a:t>‹#›</a:t>
            </a:fld>
            <a:endParaRPr lang="en-US"/>
          </a:p>
        </p:txBody>
      </p:sp>
    </p:spTree>
    <p:extLst>
      <p:ext uri="{BB962C8B-B14F-4D97-AF65-F5344CB8AC3E}">
        <p14:creationId xmlns:p14="http://schemas.microsoft.com/office/powerpoint/2010/main" val="60612150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1_End Slide">
    <p:bg>
      <p:bgPr>
        <a:solidFill>
          <a:srgbClr val="0171B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1540" y="3078166"/>
            <a:ext cx="3223861" cy="690695"/>
          </a:xfrm>
          <a:prstGeom prst="rect">
            <a:avLst/>
          </a:prstGeom>
        </p:spPr>
      </p:pic>
      <p:sp>
        <p:nvSpPr>
          <p:cNvPr id="4" name="Text Box 3"/>
          <p:cNvSpPr txBox="1">
            <a:spLocks noChangeArrowheads="1"/>
          </p:cNvSpPr>
          <p:nvPr userDrawn="1"/>
        </p:nvSpPr>
        <p:spPr bwMode="blackWhite">
          <a:xfrm>
            <a:off x="267683" y="5960378"/>
            <a:ext cx="10758655" cy="612823"/>
          </a:xfrm>
          <a:prstGeom prst="rect">
            <a:avLst/>
          </a:prstGeom>
        </p:spPr>
        <p:txBody>
          <a:bodyPr vert="horz" wrap="square" lIns="179259" tIns="143407" rIns="179259" bIns="143407" numCol="1" anchor="t" anchorCtr="0" compatLnSpc="1">
            <a:prstTxWarp prst="textNoShape">
              <a:avLst/>
            </a:prstTxWarp>
            <a:spAutoFit/>
          </a:bodyPr>
          <a:lstStyle/>
          <a:p>
            <a:pPr defTabSz="913748" eaLnBrk="0" fontAlgn="base" hangingPunct="0"/>
            <a:r>
              <a:rPr lang="en-US" sz="686" dirty="0">
                <a:solidFill>
                  <a:srgbClr val="FFFFFF"/>
                </a:solidFill>
                <a:cs typeface="Segoe UI" pitchFamily="34" charset="0"/>
              </a:rPr>
              <a:t>© 2015 Microsoft Corporation. All rights reserved. Microsoft, Windows, and other product names are or may be registered trademarks and/or trademarks in the U.S. and/or other countries.</a:t>
            </a:r>
          </a:p>
          <a:p>
            <a:pPr defTabSz="913748" eaLnBrk="0" fontAlgn="base" hangingPunct="0"/>
            <a:r>
              <a:rPr lang="en-US" sz="686" dirty="0">
                <a:solidFill>
                  <a:srgbClr val="FFFFFF"/>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30178676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50"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34223342"/>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2"/>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50" y="1447799"/>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2342052"/>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9250" y="1447799"/>
            <a:ext cx="11151917"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299635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4598303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6822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824579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50" y="1447799"/>
            <a:ext cx="11151917"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3" y="6238878"/>
            <a:ext cx="12192001"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34161473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title" hasCustomPrompt="1"/>
          </p:nvPr>
        </p:nvSpPr>
        <p:spPr>
          <a:xfrm>
            <a:off x="573712" y="259792"/>
            <a:ext cx="11005512" cy="1075884"/>
          </a:xfrm>
        </p:spPr>
        <p:txBody>
          <a:bodyPr lIns="0" tIns="91440" rIns="146304" bIns="91440"/>
          <a:lstStyle>
            <a:lvl1pPr>
              <a:lnSpc>
                <a:spcPct val="85000"/>
              </a:lnSpc>
              <a:defRPr sz="3921" baseline="0">
                <a:solidFill>
                  <a:schemeClr val="tx1">
                    <a:lumMod val="75000"/>
                    <a:lumOff val="25000"/>
                  </a:schemeClr>
                </a:solidFill>
              </a:defRPr>
            </a:lvl1pPr>
          </a:lstStyle>
          <a:p>
            <a:r>
              <a:rPr lang="en-US"/>
              <a:t>Lorem ipsum dolor sit.</a:t>
            </a:r>
          </a:p>
        </p:txBody>
      </p:sp>
    </p:spTree>
    <p:extLst>
      <p:ext uri="{BB962C8B-B14F-4D97-AF65-F5344CB8AC3E}">
        <p14:creationId xmlns:p14="http://schemas.microsoft.com/office/powerpoint/2010/main" val="31990553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3621028515"/>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295545358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eople">
    <p:bg>
      <p:bgRef idx="1001">
        <a:schemeClr val="bg1"/>
      </p:bgRef>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4832EAD-852F-4A28-BA05-3CAABFA9F6AB}"/>
              </a:ext>
            </a:extLst>
          </p:cNvPr>
          <p:cNvSpPr>
            <a:spLocks noGrp="1"/>
          </p:cNvSpPr>
          <p:nvPr>
            <p:ph type="pic" sz="quarter" idx="13" hasCustomPrompt="1"/>
          </p:nvPr>
        </p:nvSpPr>
        <p:spPr>
          <a:xfrm>
            <a:off x="5908675" y="0"/>
            <a:ext cx="2093913" cy="4746625"/>
          </a:xfrm>
          <a:blipFill>
            <a:blip r:embed="rId2" cstate="screen">
              <a:extLst>
                <a:ext uri="{28A0092B-C50C-407E-A947-70E740481C1C}">
                  <a14:useLocalDpi xmlns:a14="http://schemas.microsoft.com/office/drawing/2010/main"/>
                </a:ext>
              </a:extLst>
            </a:blip>
            <a:srcRect/>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Picture Placeholder 14">
            <a:extLst>
              <a:ext uri="{FF2B5EF4-FFF2-40B4-BE49-F238E27FC236}">
                <a16:creationId xmlns:a16="http://schemas.microsoft.com/office/drawing/2014/main" id="{25E1ACF4-32B0-400A-B746-C1F6AB892813}"/>
              </a:ext>
            </a:extLst>
          </p:cNvPr>
          <p:cNvSpPr>
            <a:spLocks noGrp="1"/>
          </p:cNvSpPr>
          <p:nvPr>
            <p:ph type="pic" sz="quarter" idx="14" hasCustomPrompt="1"/>
          </p:nvPr>
        </p:nvSpPr>
        <p:spPr>
          <a:xfrm>
            <a:off x="8002588" y="0"/>
            <a:ext cx="2093912" cy="5588000"/>
          </a:xfrm>
          <a:blipFill>
            <a:blip r:embed="rId3" cstate="screen">
              <a:extLst>
                <a:ext uri="{28A0092B-C50C-407E-A947-70E740481C1C}">
                  <a14:useLocalDpi xmlns:a14="http://schemas.microsoft.com/office/drawing/2010/main"/>
                </a:ext>
              </a:extLst>
            </a:blip>
            <a:srcRect/>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Picture Placeholder 16">
            <a:extLst>
              <a:ext uri="{FF2B5EF4-FFF2-40B4-BE49-F238E27FC236}">
                <a16:creationId xmlns:a16="http://schemas.microsoft.com/office/drawing/2014/main" id="{7DC11BB7-8886-4753-8B03-360EB35F424E}"/>
              </a:ext>
            </a:extLst>
          </p:cNvPr>
          <p:cNvSpPr>
            <a:spLocks noGrp="1"/>
          </p:cNvSpPr>
          <p:nvPr>
            <p:ph type="pic" sz="quarter" idx="15" hasCustomPrompt="1"/>
          </p:nvPr>
        </p:nvSpPr>
        <p:spPr>
          <a:xfrm>
            <a:off x="10096500" y="0"/>
            <a:ext cx="2093913" cy="4194175"/>
          </a:xfrm>
          <a:blipFill>
            <a:blip r:embed="rId4" cstate="screen">
              <a:extLst>
                <a:ext uri="{28A0092B-C50C-407E-A947-70E740481C1C}">
                  <a14:useLocalDpi xmlns:a14="http://schemas.microsoft.com/office/drawing/2010/main"/>
                </a:ext>
              </a:extLst>
            </a:blip>
            <a:srcRect/>
            <a:stretch>
              <a:fillRect/>
            </a:stretch>
          </a:blipFill>
        </p:spPr>
        <p:txBody>
          <a:bodyPr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5"/>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18" name="Rectangle 17">
            <a:extLst>
              <a:ext uri="{FF2B5EF4-FFF2-40B4-BE49-F238E27FC236}">
                <a16:creationId xmlns:a16="http://schemas.microsoft.com/office/drawing/2014/main" id="{8849CF60-D457-4688-A751-C19070E98129}"/>
              </a:ext>
            </a:extLst>
          </p:cNvPr>
          <p:cNvSpPr/>
          <p:nvPr userDrawn="1"/>
        </p:nvSpPr>
        <p:spPr bwMode="auto">
          <a:xfrm>
            <a:off x="5908674" y="4681537"/>
            <a:ext cx="2093913" cy="1301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496">
          <p15:clr>
            <a:srgbClr val="5ACBF0"/>
          </p15:clr>
        </p15:guide>
        <p15:guide id="3" pos="3360"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a:t>Yammer hashtag</a:t>
            </a:r>
          </a:p>
        </p:txBody>
      </p:sp>
    </p:spTree>
    <p:extLst>
      <p:ext uri="{BB962C8B-B14F-4D97-AF65-F5344CB8AC3E}">
        <p14:creationId xmlns:p14="http://schemas.microsoft.com/office/powerpoint/2010/main" val="1773352369"/>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43693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411494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9519860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97174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84306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190950026"/>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96045702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238940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90899286"/>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92001927"/>
      </p:ext>
    </p:extLst>
  </p:cSld>
  <p:clrMapOvr>
    <a:masterClrMapping/>
  </p:clrMapOvr>
  <p:extLst>
    <p:ext uri="{DCECCB84-F9BA-43D5-87BE-67443E8EF086}">
      <p15:sldGuideLst xmlns:p15="http://schemas.microsoft.com/office/powerpoint/2012/main">
        <p15:guide id="1" pos="342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5" name="Picture 2" descr="Image result for world map">
            <a:extLst>
              <a:ext uri="{FF2B5EF4-FFF2-40B4-BE49-F238E27FC236}">
                <a16:creationId xmlns:a16="http://schemas.microsoft.com/office/drawing/2014/main" id="{36C569D1-3FEB-4339-AA3D-AF3F4DEA5340}"/>
              </a:ext>
            </a:extLst>
          </p:cNvPr>
          <p:cNvPicPr>
            <a:picLocks noChangeAspect="1" noChangeArrowheads="1"/>
          </p:cNvPicPr>
          <p:nvPr/>
        </p:nvPicPr>
        <p:blipFill>
          <a:blip r:embed="rId2" cstate="email">
            <a:duotone>
              <a:prstClr val="black"/>
              <a:schemeClr val="accent3">
                <a:tint val="45000"/>
                <a:satMod val="400000"/>
              </a:schemeClr>
            </a:duotone>
            <a:extLst>
              <a:ext uri="{28A0092B-C50C-407E-A947-70E740481C1C}">
                <a14:useLocalDpi xmlns:a14="http://schemas.microsoft.com/office/drawing/2010/main"/>
              </a:ext>
            </a:extLst>
          </a:blip>
          <a:srcRect/>
          <a:stretch>
            <a:fillRect/>
          </a:stretch>
        </p:blipFill>
        <p:spPr bwMode="auto">
          <a:xfrm>
            <a:off x="0" y="68262"/>
            <a:ext cx="12192000" cy="6721475"/>
          </a:xfrm>
          <a:prstGeom prst="rect">
            <a:avLst/>
          </a:prstGeom>
          <a:solidFill>
            <a:srgbClr val="FFFFFF"/>
          </a:solidFill>
        </p:spPr>
      </p:pic>
    </p:spTree>
    <p:extLst>
      <p:ext uri="{BB962C8B-B14F-4D97-AF65-F5344CB8AC3E}">
        <p14:creationId xmlns:p14="http://schemas.microsoft.com/office/powerpoint/2010/main" val="15677289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043811267"/>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6635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white - EMF">
            <a:extLst>
              <a:ext uri="{FF2B5EF4-FFF2-40B4-BE49-F238E27FC236}">
                <a16:creationId xmlns:a16="http://schemas.microsoft.com/office/drawing/2014/main" id="{5C109C4B-18F9-413C-9B7A-1953935E46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265275" y="509228"/>
            <a:ext cx="1423303" cy="304828"/>
          </a:xfrm>
          <a:prstGeom prst="rect">
            <a:avLst/>
          </a:prstGeom>
        </p:spPr>
      </p:pic>
    </p:spTree>
    <p:extLst>
      <p:ext uri="{BB962C8B-B14F-4D97-AF65-F5344CB8AC3E}">
        <p14:creationId xmlns:p14="http://schemas.microsoft.com/office/powerpoint/2010/main" val="1921634232"/>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61242881"/>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3048" y="2"/>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23"/>
          <p:cNvSpPr/>
          <p:nvPr userDrawn="1"/>
        </p:nvSpPr>
        <p:spPr bwMode="auto">
          <a:xfrm>
            <a:off x="0" y="0"/>
            <a:ext cx="10153147" cy="6858000"/>
          </a:xfrm>
          <a:custGeom>
            <a:avLst/>
            <a:gdLst>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3429708 w 10153146"/>
              <a:gd name="connsiteY4" fmla="*/ 0 h 6858000"/>
              <a:gd name="connsiteX5" fmla="*/ 10153146 w 10153146"/>
              <a:gd name="connsiteY5" fmla="*/ 0 h 6858000"/>
              <a:gd name="connsiteX6" fmla="*/ 8692118 w 10153146"/>
              <a:gd name="connsiteY6" fmla="*/ 6858000 h 6858000"/>
              <a:gd name="connsiteX7" fmla="*/ 3429708 w 10153146"/>
              <a:gd name="connsiteY7" fmla="*/ 6858000 h 6858000"/>
              <a:gd name="connsiteX8" fmla="*/ 3313859 w 10153146"/>
              <a:gd name="connsiteY8" fmla="*/ 6858000 h 6858000"/>
              <a:gd name="connsiteX9" fmla="*/ 2046514 w 10153146"/>
              <a:gd name="connsiteY9" fmla="*/ 6858000 h 6858000"/>
              <a:gd name="connsiteX10" fmla="*/ 1862165 w 10153146"/>
              <a:gd name="connsiteY10" fmla="*/ 6858000 h 6858000"/>
              <a:gd name="connsiteX11" fmla="*/ 0 w 10153146"/>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146" h="6858000">
                <a:moveTo>
                  <a:pt x="0" y="0"/>
                </a:moveTo>
                <a:lnTo>
                  <a:pt x="1862165" y="0"/>
                </a:lnTo>
                <a:lnTo>
                  <a:pt x="2046514" y="0"/>
                </a:lnTo>
                <a:lnTo>
                  <a:pt x="3313859" y="0"/>
                </a:lnTo>
                <a:lnTo>
                  <a:pt x="3429708" y="0"/>
                </a:lnTo>
                <a:lnTo>
                  <a:pt x="10153146" y="0"/>
                </a:lnTo>
                <a:lnTo>
                  <a:pt x="8692118" y="6858000"/>
                </a:lnTo>
                <a:lnTo>
                  <a:pt x="3429708" y="6858000"/>
                </a:lnTo>
                <a:lnTo>
                  <a:pt x="3313859" y="6858000"/>
                </a:lnTo>
                <a:lnTo>
                  <a:pt x="2046514" y="6858000"/>
                </a:lnTo>
                <a:lnTo>
                  <a:pt x="1862165" y="6858000"/>
                </a:lnTo>
                <a:lnTo>
                  <a:pt x="0" y="685800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25" name="Freeform 24"/>
          <p:cNvSpPr>
            <a:spLocks/>
          </p:cNvSpPr>
          <p:nvPr userDrawn="1"/>
        </p:nvSpPr>
        <p:spPr bwMode="auto">
          <a:xfrm flipH="1" flipV="1">
            <a:off x="0" y="0"/>
            <a:ext cx="8778917" cy="6858000"/>
          </a:xfrm>
          <a:custGeom>
            <a:avLst/>
            <a:gdLst>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732403 w 8778917"/>
              <a:gd name="connsiteY8" fmla="*/ 0 h 6858000"/>
              <a:gd name="connsiteX9" fmla="*/ 6839287 w 8778917"/>
              <a:gd name="connsiteY9" fmla="*/ 0 h 6858000"/>
              <a:gd name="connsiteX10" fmla="*/ 8290981 w 8778917"/>
              <a:gd name="connsiteY10" fmla="*/ 0 h 6858000"/>
              <a:gd name="connsiteX11" fmla="*/ 8778917 w 877891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78917" h="6858000">
                <a:moveTo>
                  <a:pt x="8778917" y="6858000"/>
                </a:moveTo>
                <a:lnTo>
                  <a:pt x="8290981" y="6858000"/>
                </a:lnTo>
                <a:lnTo>
                  <a:pt x="6839287" y="6858000"/>
                </a:lnTo>
                <a:lnTo>
                  <a:pt x="6732403" y="6858000"/>
                </a:lnTo>
                <a:lnTo>
                  <a:pt x="6723438" y="6858000"/>
                </a:lnTo>
                <a:lnTo>
                  <a:pt x="0" y="6858000"/>
                </a:lnTo>
                <a:lnTo>
                  <a:pt x="1461028" y="0"/>
                </a:lnTo>
                <a:lnTo>
                  <a:pt x="6723438" y="0"/>
                </a:lnTo>
                <a:lnTo>
                  <a:pt x="6732403" y="0"/>
                </a:lnTo>
                <a:lnTo>
                  <a:pt x="6839287" y="0"/>
                </a:lnTo>
                <a:lnTo>
                  <a:pt x="8290981" y="0"/>
                </a:lnTo>
                <a:lnTo>
                  <a:pt x="8778917" y="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19" name="Freeform 18"/>
          <p:cNvSpPr>
            <a:spLocks/>
          </p:cNvSpPr>
          <p:nvPr userDrawn="1"/>
        </p:nvSpPr>
        <p:spPr bwMode="auto">
          <a:xfrm flipH="1" flipV="1">
            <a:off x="-1" y="0"/>
            <a:ext cx="8290981" cy="6858000"/>
          </a:xfrm>
          <a:custGeom>
            <a:avLst/>
            <a:gdLst>
              <a:gd name="connsiteX0" fmla="*/ 8290981 w 8290981"/>
              <a:gd name="connsiteY0" fmla="*/ 6858000 h 6858000"/>
              <a:gd name="connsiteX1" fmla="*/ 6839287 w 8290981"/>
              <a:gd name="connsiteY1" fmla="*/ 6858000 h 6858000"/>
              <a:gd name="connsiteX2" fmla="*/ 6723438 w 8290981"/>
              <a:gd name="connsiteY2" fmla="*/ 6858000 h 6858000"/>
              <a:gd name="connsiteX3" fmla="*/ 0 w 8290981"/>
              <a:gd name="connsiteY3" fmla="*/ 6858000 h 6858000"/>
              <a:gd name="connsiteX4" fmla="*/ 1461028 w 8290981"/>
              <a:gd name="connsiteY4" fmla="*/ 0 h 6858000"/>
              <a:gd name="connsiteX5" fmla="*/ 6723438 w 8290981"/>
              <a:gd name="connsiteY5" fmla="*/ 0 h 6858000"/>
              <a:gd name="connsiteX6" fmla="*/ 6839287 w 8290981"/>
              <a:gd name="connsiteY6" fmla="*/ 0 h 6858000"/>
              <a:gd name="connsiteX7" fmla="*/ 8290981 w 829098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90981" h="6858000">
                <a:moveTo>
                  <a:pt x="8290981" y="6858000"/>
                </a:moveTo>
                <a:lnTo>
                  <a:pt x="6839287" y="6858000"/>
                </a:lnTo>
                <a:lnTo>
                  <a:pt x="6723438" y="6858000"/>
                </a:lnTo>
                <a:lnTo>
                  <a:pt x="0" y="6858000"/>
                </a:lnTo>
                <a:lnTo>
                  <a:pt x="1461028" y="0"/>
                </a:lnTo>
                <a:lnTo>
                  <a:pt x="6723438" y="0"/>
                </a:lnTo>
                <a:lnTo>
                  <a:pt x="6839287" y="0"/>
                </a:lnTo>
                <a:lnTo>
                  <a:pt x="8290981" y="0"/>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7" name="Title 1"/>
          <p:cNvSpPr>
            <a:spLocks noGrp="1"/>
          </p:cNvSpPr>
          <p:nvPr>
            <p:ph type="title" hasCustomPrompt="1"/>
          </p:nvPr>
        </p:nvSpPr>
        <p:spPr bwMode="auto">
          <a:xfrm>
            <a:off x="366271" y="2205464"/>
            <a:ext cx="6987031" cy="2438400"/>
          </a:xfrm>
          <a:noFill/>
        </p:spPr>
        <p:txBody>
          <a:bodyPr lIns="195067" tIns="121917" rIns="195067" bIns="121917" anchor="t" anchorCtr="0"/>
          <a:lstStyle>
            <a:lvl1pPr>
              <a:defRPr sz="5400" spc="-133" baseline="0">
                <a:solidFill>
                  <a:srgbClr val="FFFFFF"/>
                </a:solidFill>
                <a:latin typeface="Segoe UI Light"/>
                <a:cs typeface="Segoe UI Light"/>
              </a:defRPr>
            </a:lvl1pPr>
          </a:lstStyle>
          <a:p>
            <a:r>
              <a:rPr lang="en-US" dirty="0"/>
              <a:t>Presentation title</a:t>
            </a:r>
          </a:p>
        </p:txBody>
      </p:sp>
      <p:sp>
        <p:nvSpPr>
          <p:cNvPr id="8" name="Text Placeholder 2"/>
          <p:cNvSpPr>
            <a:spLocks noGrp="1"/>
          </p:cNvSpPr>
          <p:nvPr>
            <p:ph type="body" sz="quarter" idx="14" hasCustomPrompt="1"/>
          </p:nvPr>
        </p:nvSpPr>
        <p:spPr bwMode="auto">
          <a:xfrm>
            <a:off x="364068" y="4050993"/>
            <a:ext cx="6989235" cy="1057328"/>
          </a:xfrm>
          <a:noFill/>
        </p:spPr>
        <p:txBody>
          <a:bodyPr tIns="146300" bIns="146300">
            <a:noAutofit/>
          </a:bodyPr>
          <a:lstStyle>
            <a:lvl1pPr marL="0" indent="0">
              <a:spcBef>
                <a:spcPts val="0"/>
              </a:spcBef>
              <a:buNone/>
              <a:defRPr sz="2400">
                <a:solidFill>
                  <a:srgbClr val="FFFFFF"/>
                </a:solidFill>
              </a:defRPr>
            </a:lvl1pPr>
          </a:lstStyle>
          <a:p>
            <a:pPr lvl="0"/>
            <a:r>
              <a:rPr lang="en-US" dirty="0"/>
              <a:t>Speaker Name</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518988" y="6368028"/>
            <a:ext cx="1304123" cy="285764"/>
          </a:xfrm>
          <a:prstGeom prst="rect">
            <a:avLst/>
          </a:prstGeom>
        </p:spPr>
      </p:pic>
      <p:sp>
        <p:nvSpPr>
          <p:cNvPr id="13" name="TextBox 12"/>
          <p:cNvSpPr txBox="1"/>
          <p:nvPr userDrawn="1"/>
        </p:nvSpPr>
        <p:spPr>
          <a:xfrm>
            <a:off x="364067" y="6419582"/>
            <a:ext cx="2606040" cy="182880"/>
          </a:xfrm>
          <a:prstGeom prst="rect">
            <a:avLst/>
          </a:prstGeom>
          <a:noFill/>
        </p:spPr>
        <p:txBody>
          <a:bodyPr wrap="none" lIns="182880" tIns="146304" rIns="182880" bIns="146304" rtlCol="0" anchor="ctr">
            <a:noAutofit/>
          </a:bodyPr>
          <a:lstStyle/>
          <a:p>
            <a:pPr>
              <a:lnSpc>
                <a:spcPct val="90000"/>
              </a:lnSpc>
              <a:spcAft>
                <a:spcPts val="600"/>
              </a:spcAft>
            </a:pPr>
            <a:r>
              <a:rPr lang="en-US" sz="880" dirty="0">
                <a:solidFill>
                  <a:srgbClr val="FFFFFF"/>
                </a:solidFill>
              </a:rPr>
              <a:t>Microsoft Confidential</a:t>
            </a:r>
          </a:p>
        </p:txBody>
      </p:sp>
    </p:spTree>
    <p:extLst>
      <p:ext uri="{BB962C8B-B14F-4D97-AF65-F5344CB8AC3E}">
        <p14:creationId xmlns:p14="http://schemas.microsoft.com/office/powerpoint/2010/main" val="40663362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Slide 1_Animated">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0" y="2"/>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a:spLocks/>
          </p:cNvSpPr>
          <p:nvPr userDrawn="1"/>
        </p:nvSpPr>
        <p:spPr bwMode="auto">
          <a:xfrm>
            <a:off x="6530250" y="-1"/>
            <a:ext cx="8081101" cy="6858002"/>
          </a:xfrm>
          <a:custGeom>
            <a:avLst/>
            <a:gdLst>
              <a:gd name="connsiteX0" fmla="*/ 1457721 w 8081101"/>
              <a:gd name="connsiteY0" fmla="*/ 0 h 6858002"/>
              <a:gd name="connsiteX1" fmla="*/ 8081101 w 8081101"/>
              <a:gd name="connsiteY1" fmla="*/ 0 h 6858002"/>
              <a:gd name="connsiteX2" fmla="*/ 8081101 w 8081101"/>
              <a:gd name="connsiteY2" fmla="*/ 6858002 h 6858002"/>
              <a:gd name="connsiteX3" fmla="*/ 0 w 8081101"/>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8081101" h="6858002">
                <a:moveTo>
                  <a:pt x="1457721" y="0"/>
                </a:moveTo>
                <a:lnTo>
                  <a:pt x="8081101" y="0"/>
                </a:lnTo>
                <a:lnTo>
                  <a:pt x="8081101" y="6858002"/>
                </a:lnTo>
                <a:lnTo>
                  <a:pt x="0" y="6858002"/>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7" name="Title 1"/>
          <p:cNvSpPr>
            <a:spLocks noGrp="1"/>
          </p:cNvSpPr>
          <p:nvPr>
            <p:ph type="title" hasCustomPrompt="1"/>
          </p:nvPr>
        </p:nvSpPr>
        <p:spPr bwMode="auto">
          <a:xfrm>
            <a:off x="6815251" y="2459506"/>
            <a:ext cx="4496016" cy="1914361"/>
          </a:xfrm>
          <a:noFill/>
        </p:spPr>
        <p:txBody>
          <a:bodyPr lIns="195067" tIns="121917" rIns="195067" bIns="121917" anchor="t" anchorCtr="0"/>
          <a:lstStyle>
            <a:lvl1pPr>
              <a:defRPr sz="6000" spc="-133" baseline="0">
                <a:solidFill>
                  <a:srgbClr val="FFFFFF"/>
                </a:solidFill>
                <a:latin typeface="Segoe UI Light"/>
                <a:cs typeface="Segoe UI Light"/>
              </a:defRPr>
            </a:lvl1pPr>
          </a:lstStyle>
          <a:p>
            <a:r>
              <a:rPr lang="en-US" dirty="0"/>
              <a:t>Click to edit title</a:t>
            </a:r>
          </a:p>
        </p:txBody>
      </p:sp>
      <p:sp>
        <p:nvSpPr>
          <p:cNvPr id="21" name="Text Placeholder 5"/>
          <p:cNvSpPr>
            <a:spLocks noGrp="1"/>
          </p:cNvSpPr>
          <p:nvPr>
            <p:ph type="body" sz="quarter" idx="13"/>
          </p:nvPr>
        </p:nvSpPr>
        <p:spPr>
          <a:xfrm>
            <a:off x="6815251" y="4366353"/>
            <a:ext cx="4496016"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FFFFFF"/>
                </a:solidFill>
              </a:rPr>
              <a:t>Microsoft Confidential</a:t>
            </a:r>
          </a:p>
        </p:txBody>
      </p:sp>
    </p:spTree>
    <p:extLst>
      <p:ext uri="{BB962C8B-B14F-4D97-AF65-F5344CB8AC3E}">
        <p14:creationId xmlns:p14="http://schemas.microsoft.com/office/powerpoint/2010/main" val="2919313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1">
                                            <p:txEl>
                                              <p:pRg st="0" end="0"/>
                                            </p:txEl>
                                          </p:spTgt>
                                        </p:tgtEl>
                                        <p:attrNameLst>
                                          <p:attrName>style.visibility</p:attrName>
                                        </p:attrNameLst>
                                      </p:cBhvr>
                                      <p:to>
                                        <p:strVal val="visible"/>
                                      </p:to>
                                    </p:set>
                                    <p:animEffect transition="in" filter="fade">
                                      <p:cBhvr>
                                        <p:cTn id="10" dur="500"/>
                                        <p:tgtEl>
                                          <p:spTgt spid="21">
                                            <p:txEl>
                                              <p:pRg st="0" end="0"/>
                                            </p:txEl>
                                          </p:spTgt>
                                        </p:tgtEl>
                                      </p:cBhvr>
                                    </p:animEffect>
                                  </p:childTnLst>
                                </p:cTn>
                              </p:par>
                              <p:par>
                                <p:cTn id="11" presetID="35" presetClass="path" presetSubtype="0" accel="50000" decel="50000" fill="hold" grpId="0" nodeType="withEffect">
                                  <p:stCondLst>
                                    <p:cond delay="0"/>
                                  </p:stCondLst>
                                  <p:childTnLst>
                                    <p:animMotion origin="layout" path="M 2.70833E-6 0 L -0.08972 0 " pathEditMode="relative" rAng="0" ptsTypes="AA">
                                      <p:cBhvr>
                                        <p:cTn id="12" dur="1000" fill="hold"/>
                                        <p:tgtEl>
                                          <p:spTgt spid="20"/>
                                        </p:tgtEl>
                                        <p:attrNameLst>
                                          <p:attrName>ppt_x</p:attrName>
                                          <p:attrName>ppt_y</p:attrName>
                                        </p:attrNameLst>
                                      </p:cBhvr>
                                      <p:rCtr x="-449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7" grpId="0"/>
      <p:bldP spid="21" grpId="0" build="p">
        <p:tmplLst>
          <p:tmpl lvl="1">
            <p:tnLst>
              <p:par>
                <p:cTn presetID="10" presetClass="entr" presetSubtype="0" fill="hold" nodeType="withEffect">
                  <p:stCondLst>
                    <p:cond delay="50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1_Not Animate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415" r="33326"/>
          <a:stretch/>
        </p:blipFill>
        <p:spPr>
          <a:xfrm>
            <a:off x="-1" y="-1"/>
            <a:ext cx="12192001" cy="6858002"/>
          </a:xfrm>
          <a:prstGeom prst="rect">
            <a:avLst/>
          </a:prstGeom>
        </p:spPr>
      </p:pic>
      <p:sp>
        <p:nvSpPr>
          <p:cNvPr id="11" name="Rectangle 10"/>
          <p:cNvSpPr/>
          <p:nvPr userDrawn="1"/>
        </p:nvSpPr>
        <p:spPr bwMode="auto">
          <a:xfrm>
            <a:off x="0" y="2"/>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17"/>
          <p:cNvSpPr>
            <a:spLocks/>
          </p:cNvSpPr>
          <p:nvPr userDrawn="1"/>
        </p:nvSpPr>
        <p:spPr bwMode="auto">
          <a:xfrm>
            <a:off x="5430793" y="-1"/>
            <a:ext cx="6761209" cy="6858002"/>
          </a:xfrm>
          <a:custGeom>
            <a:avLst/>
            <a:gdLst>
              <a:gd name="connsiteX0" fmla="*/ 1457721 w 6761209"/>
              <a:gd name="connsiteY0" fmla="*/ 0 h 6858002"/>
              <a:gd name="connsiteX1" fmla="*/ 6761209 w 6761209"/>
              <a:gd name="connsiteY1" fmla="*/ 0 h 6858002"/>
              <a:gd name="connsiteX2" fmla="*/ 6761209 w 6761209"/>
              <a:gd name="connsiteY2" fmla="*/ 6858002 h 6858002"/>
              <a:gd name="connsiteX3" fmla="*/ 0 w 6761209"/>
              <a:gd name="connsiteY3" fmla="*/ 6858002 h 6858002"/>
            </a:gdLst>
            <a:ahLst/>
            <a:cxnLst>
              <a:cxn ang="0">
                <a:pos x="connsiteX0" y="connsiteY0"/>
              </a:cxn>
              <a:cxn ang="0">
                <a:pos x="connsiteX1" y="connsiteY1"/>
              </a:cxn>
              <a:cxn ang="0">
                <a:pos x="connsiteX2" y="connsiteY2"/>
              </a:cxn>
              <a:cxn ang="0">
                <a:pos x="connsiteX3" y="connsiteY3"/>
              </a:cxn>
            </a:cxnLst>
            <a:rect l="l" t="t" r="r" b="b"/>
            <a:pathLst>
              <a:path w="6761209" h="6858002">
                <a:moveTo>
                  <a:pt x="1457721" y="0"/>
                </a:moveTo>
                <a:lnTo>
                  <a:pt x="6761209" y="0"/>
                </a:lnTo>
                <a:lnTo>
                  <a:pt x="6761209" y="6858002"/>
                </a:lnTo>
                <a:lnTo>
                  <a:pt x="0" y="6858002"/>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7" name="Title 1"/>
          <p:cNvSpPr>
            <a:spLocks noGrp="1"/>
          </p:cNvSpPr>
          <p:nvPr>
            <p:ph type="title" hasCustomPrompt="1"/>
          </p:nvPr>
        </p:nvSpPr>
        <p:spPr bwMode="auto">
          <a:xfrm>
            <a:off x="6815251" y="2459506"/>
            <a:ext cx="4496016" cy="1914361"/>
          </a:xfrm>
          <a:noFill/>
        </p:spPr>
        <p:txBody>
          <a:bodyPr lIns="195067" tIns="121917" rIns="195067" bIns="121917" anchor="t" anchorCtr="0"/>
          <a:lstStyle>
            <a:lvl1pPr>
              <a:defRPr sz="6000" spc="-133" baseline="0">
                <a:solidFill>
                  <a:srgbClr val="FFFFFF"/>
                </a:solidFill>
                <a:latin typeface="Segoe UI Light"/>
                <a:cs typeface="Segoe UI Light"/>
              </a:defRPr>
            </a:lvl1pPr>
          </a:lstStyle>
          <a:p>
            <a:r>
              <a:rPr lang="en-US" dirty="0"/>
              <a:t>Click to edit title</a:t>
            </a:r>
          </a:p>
        </p:txBody>
      </p:sp>
      <p:sp>
        <p:nvSpPr>
          <p:cNvPr id="6" name="Text Placeholder 5"/>
          <p:cNvSpPr>
            <a:spLocks noGrp="1"/>
          </p:cNvSpPr>
          <p:nvPr>
            <p:ph type="body" sz="quarter" idx="13"/>
          </p:nvPr>
        </p:nvSpPr>
        <p:spPr>
          <a:xfrm>
            <a:off x="6815251" y="4366353"/>
            <a:ext cx="4496016"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FFFFFF"/>
                </a:solidFill>
              </a:rPr>
              <a:t>Microsoft Confidential</a:t>
            </a:r>
          </a:p>
        </p:txBody>
      </p:sp>
    </p:spTree>
    <p:extLst>
      <p:ext uri="{BB962C8B-B14F-4D97-AF65-F5344CB8AC3E}">
        <p14:creationId xmlns:p14="http://schemas.microsoft.com/office/powerpoint/2010/main" val="33735748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Slide 2_Animated">
    <p:spTree>
      <p:nvGrpSpPr>
        <p:cNvPr id="1" name=""/>
        <p:cNvGrpSpPr/>
        <p:nvPr/>
      </p:nvGrpSpPr>
      <p:grpSpPr>
        <a:xfrm>
          <a:off x="0" y="0"/>
          <a:ext cx="0" cy="0"/>
          <a:chOff x="0" y="0"/>
          <a:chExt cx="0" cy="0"/>
        </a:xfrm>
      </p:grpSpPr>
      <p:sp>
        <p:nvSpPr>
          <p:cNvPr id="15" name="Freeform 14"/>
          <p:cNvSpPr>
            <a:spLocks/>
          </p:cNvSpPr>
          <p:nvPr/>
        </p:nvSpPr>
        <p:spPr bwMode="auto">
          <a:xfrm>
            <a:off x="948601" y="2"/>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6" name="Text Placeholder 5"/>
          <p:cNvSpPr>
            <a:spLocks noGrp="1"/>
          </p:cNvSpPr>
          <p:nvPr>
            <p:ph type="body" sz="quarter" idx="13"/>
          </p:nvPr>
        </p:nvSpPr>
        <p:spPr>
          <a:xfrm>
            <a:off x="2771142" y="4366353"/>
            <a:ext cx="8963660"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770828" y="3428999"/>
            <a:ext cx="8963973" cy="927940"/>
          </a:xfrm>
          <a:prstGeom prst="rect">
            <a:avLst/>
          </a:prstGeom>
        </p:spPr>
        <p:txBody>
          <a:bodyPr/>
          <a:lstStyle>
            <a:lvl1pPr algn="l">
              <a:defRPr sz="5400">
                <a:solidFill>
                  <a:schemeClr val="bg1"/>
                </a:solidFill>
              </a:defRPr>
            </a:lvl1pPr>
          </a:lstStyle>
          <a:p>
            <a:r>
              <a:rPr lang="en-US" dirty="0"/>
              <a:t>Click to edit Master title style</a:t>
            </a:r>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FFFFFF"/>
                </a:solidFill>
              </a:rPr>
              <a:t>Microsoft Confidential</a:t>
            </a:r>
          </a:p>
        </p:txBody>
      </p:sp>
    </p:spTree>
    <p:extLst>
      <p:ext uri="{BB962C8B-B14F-4D97-AF65-F5344CB8AC3E}">
        <p14:creationId xmlns:p14="http://schemas.microsoft.com/office/powerpoint/2010/main" val="3085880791"/>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grpId="0" nodeType="withEffect">
                                  <p:stCondLst>
                                    <p:cond delay="0"/>
                                  </p:stCondLst>
                                  <p:childTnLst>
                                    <p:animMotion origin="layout" path="M -2.29167E-6 0 L 0.05599 0 " pathEditMode="relative" rAng="0" ptsTypes="AA">
                                      <p:cBhvr>
                                        <p:cTn id="6" dur="1000" fill="hold"/>
                                        <p:tgtEl>
                                          <p:spTgt spid="15"/>
                                        </p:tgtEl>
                                        <p:attrNameLst>
                                          <p:attrName>ppt_x</p:attrName>
                                          <p:attrName>ppt_y</p:attrName>
                                        </p:attrNameLst>
                                      </p:cBhvr>
                                      <p:rCtr x="2799" y="0"/>
                                    </p:animMotion>
                                  </p:childTnLst>
                                </p:cTn>
                              </p:par>
                              <p:par>
                                <p:cTn id="7" presetID="2" presetClass="entr" presetSubtype="2" decel="10000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anim calcmode="lin" valueType="num">
                                      <p:cBhvr additive="base">
                                        <p:cTn id="9" dur="10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10" dur="1000" fill="hold"/>
                                        <p:tgtEl>
                                          <p:spTgt spid="6">
                                            <p:txEl>
                                              <p:pRg st="0" end="0"/>
                                            </p:txEl>
                                          </p:spTgt>
                                        </p:tgtEl>
                                        <p:attrNameLst>
                                          <p:attrName>ppt_y</p:attrName>
                                        </p:attrNameLst>
                                      </p:cBhvr>
                                      <p:tavLst>
                                        <p:tav tm="0">
                                          <p:val>
                                            <p:strVal val="#ppt_y"/>
                                          </p:val>
                                        </p:tav>
                                        <p:tav tm="100000">
                                          <p:val>
                                            <p:strVal val="#ppt_y"/>
                                          </p:val>
                                        </p:tav>
                                      </p:tavLst>
                                    </p:anim>
                                  </p:childTnLst>
                                </p:cTn>
                              </p:par>
                              <p:par>
                                <p:cTn id="11" presetID="2" presetClass="entr" presetSubtype="2" decel="10000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fill="hold"/>
                                        <p:tgtEl>
                                          <p:spTgt spid="7"/>
                                        </p:tgtEl>
                                        <p:attrNameLst>
                                          <p:attrName>ppt_x</p:attrName>
                                        </p:attrNameLst>
                                      </p:cBhvr>
                                      <p:tavLst>
                                        <p:tav tm="0">
                                          <p:val>
                                            <p:strVal val="1+#ppt_w/2"/>
                                          </p:val>
                                        </p:tav>
                                        <p:tav tm="100000">
                                          <p:val>
                                            <p:strVal val="#ppt_x"/>
                                          </p:val>
                                        </p:tav>
                                      </p:tavLst>
                                    </p:anim>
                                    <p:anim calcmode="lin" valueType="num">
                                      <p:cBhvr additive="base">
                                        <p:cTn id="14"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6" grpId="0" build="p">
        <p:tmplLst>
          <p:tmpl lvl="1">
            <p:tnLst>
              <p:par>
                <p:cTn presetID="2" presetClass="entr" presetSubtype="2" decel="100000"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1000" fill="hold"/>
                        <p:tgtEl>
                          <p:spTgt spid="6"/>
                        </p:tgtEl>
                        <p:attrNameLst>
                          <p:attrName>ppt_x</p:attrName>
                        </p:attrNameLst>
                      </p:cBhvr>
                      <p:tavLst>
                        <p:tav tm="0">
                          <p:val>
                            <p:strVal val="1+#ppt_w/2"/>
                          </p:val>
                        </p:tav>
                        <p:tav tm="100000">
                          <p:val>
                            <p:strVal val="#ppt_x"/>
                          </p:val>
                        </p:tav>
                      </p:tavLst>
                    </p:anim>
                    <p:anim calcmode="lin" valueType="num">
                      <p:cBhvr additive="base">
                        <p:cTn dur="1000" fill="hold"/>
                        <p:tgtEl>
                          <p:spTgt spid="6"/>
                        </p:tgtEl>
                        <p:attrNameLst>
                          <p:attrName>ppt_y</p:attrName>
                        </p:attrNameLst>
                      </p:cBhvr>
                      <p:tavLst>
                        <p:tav tm="0">
                          <p:val>
                            <p:strVal val="#ppt_y"/>
                          </p:val>
                        </p:tav>
                        <p:tav tm="100000">
                          <p:val>
                            <p:strVal val="#ppt_y"/>
                          </p:val>
                        </p:tav>
                      </p:tavLst>
                    </p:anim>
                  </p:childTnLst>
                </p:cTn>
              </p:par>
            </p:tnLst>
          </p:tmpl>
        </p:tmplLst>
      </p:bldP>
      <p:bldP spid="7"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2_Not Animated">
    <p:spTree>
      <p:nvGrpSpPr>
        <p:cNvPr id="1" name=""/>
        <p:cNvGrpSpPr/>
        <p:nvPr/>
      </p:nvGrpSpPr>
      <p:grpSpPr>
        <a:xfrm>
          <a:off x="0" y="0"/>
          <a:ext cx="0" cy="0"/>
          <a:chOff x="0" y="0"/>
          <a:chExt cx="0" cy="0"/>
        </a:xfrm>
      </p:grpSpPr>
      <p:sp>
        <p:nvSpPr>
          <p:cNvPr id="11" name="Freeform 10"/>
          <p:cNvSpPr>
            <a:spLocks/>
          </p:cNvSpPr>
          <p:nvPr/>
        </p:nvSpPr>
        <p:spPr bwMode="auto">
          <a:xfrm>
            <a:off x="1630776" y="-1"/>
            <a:ext cx="11243401" cy="6858001"/>
          </a:xfrm>
          <a:custGeom>
            <a:avLst/>
            <a:gdLst>
              <a:gd name="connsiteX0" fmla="*/ 1457720 w 11243401"/>
              <a:gd name="connsiteY0" fmla="*/ 0 h 6858001"/>
              <a:gd name="connsiteX1" fmla="*/ 6823801 w 11243401"/>
              <a:gd name="connsiteY1" fmla="*/ 0 h 6858001"/>
              <a:gd name="connsiteX2" fmla="*/ 6823801 w 11243401"/>
              <a:gd name="connsiteY2" fmla="*/ 1 h 6858001"/>
              <a:gd name="connsiteX3" fmla="*/ 11243401 w 11243401"/>
              <a:gd name="connsiteY3" fmla="*/ 1 h 6858001"/>
              <a:gd name="connsiteX4" fmla="*/ 11243401 w 11243401"/>
              <a:gd name="connsiteY4" fmla="*/ 6858001 h 6858001"/>
              <a:gd name="connsiteX5" fmla="*/ 6823801 w 11243401"/>
              <a:gd name="connsiteY5" fmla="*/ 6858001 h 6858001"/>
              <a:gd name="connsiteX6" fmla="*/ 0 w 11243401"/>
              <a:gd name="connsiteY6"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43401" h="6858001">
                <a:moveTo>
                  <a:pt x="1457720" y="0"/>
                </a:moveTo>
                <a:lnTo>
                  <a:pt x="6823801" y="0"/>
                </a:lnTo>
                <a:lnTo>
                  <a:pt x="6823801" y="1"/>
                </a:lnTo>
                <a:lnTo>
                  <a:pt x="11243401" y="1"/>
                </a:lnTo>
                <a:lnTo>
                  <a:pt x="11243401" y="6858001"/>
                </a:lnTo>
                <a:lnTo>
                  <a:pt x="6823801" y="6858001"/>
                </a:lnTo>
                <a:lnTo>
                  <a:pt x="0" y="6858001"/>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6" name="Text Placeholder 5"/>
          <p:cNvSpPr>
            <a:spLocks noGrp="1"/>
          </p:cNvSpPr>
          <p:nvPr userDrawn="1">
            <p:ph type="body" sz="quarter" idx="13"/>
          </p:nvPr>
        </p:nvSpPr>
        <p:spPr>
          <a:xfrm>
            <a:off x="2771142" y="4366353"/>
            <a:ext cx="8963660" cy="563458"/>
          </a:xfrm>
          <a:prstGeom prst="rect">
            <a:avLst/>
          </a:prstGeom>
        </p:spPr>
        <p:txBody>
          <a:bodyPr lIns="192024"/>
          <a:lstStyle>
            <a:lvl1pPr marL="0" indent="0">
              <a:buNone/>
              <a:defRPr lang="en-US" sz="2745" kern="1200" smtClean="0">
                <a:solidFill>
                  <a:schemeClr val="bg1"/>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userDrawn="1">
            <p:ph type="title"/>
          </p:nvPr>
        </p:nvSpPr>
        <p:spPr>
          <a:xfrm>
            <a:off x="2770828" y="3428999"/>
            <a:ext cx="8963973" cy="927940"/>
          </a:xfrm>
          <a:prstGeom prst="rect">
            <a:avLst/>
          </a:prstGeom>
        </p:spPr>
        <p:txBody>
          <a:bodyPr/>
          <a:lstStyle>
            <a:lvl1pPr algn="l">
              <a:defRPr sz="5400">
                <a:solidFill>
                  <a:schemeClr val="bg1"/>
                </a:solidFill>
              </a:defRPr>
            </a:lvl1pPr>
          </a:lstStyle>
          <a:p>
            <a:r>
              <a:rPr lang="en-US" dirty="0"/>
              <a:t>Click to edit Master title style</a:t>
            </a:r>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FFFFFF"/>
                </a:solidFill>
              </a:rPr>
              <a:t>Microsoft Confidential</a:t>
            </a:r>
          </a:p>
        </p:txBody>
      </p:sp>
    </p:spTree>
    <p:extLst>
      <p:ext uri="{BB962C8B-B14F-4D97-AF65-F5344CB8AC3E}">
        <p14:creationId xmlns:p14="http://schemas.microsoft.com/office/powerpoint/2010/main" val="336346444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rge Title and Content">
    <p:spTree>
      <p:nvGrpSpPr>
        <p:cNvPr id="1" name=""/>
        <p:cNvGrpSpPr/>
        <p:nvPr/>
      </p:nvGrpSpPr>
      <p:grpSpPr>
        <a:xfrm>
          <a:off x="0" y="0"/>
          <a:ext cx="0" cy="0"/>
          <a:chOff x="0" y="0"/>
          <a:chExt cx="0" cy="0"/>
        </a:xfrm>
      </p:grpSpPr>
      <p:sp>
        <p:nvSpPr>
          <p:cNvPr id="17" name="Freeform 16"/>
          <p:cNvSpPr/>
          <p:nvPr userDrawn="1"/>
        </p:nvSpPr>
        <p:spPr bwMode="auto">
          <a:xfrm>
            <a:off x="1" y="2"/>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 name="TextBox 7"/>
          <p:cNvSpPr txBox="1"/>
          <p:nvPr userDrawn="1"/>
        </p:nvSpPr>
        <p:spPr>
          <a:xfrm>
            <a:off x="9918257"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4"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2"/>
            <a:ext cx="3033073" cy="2012859"/>
          </a:xfrm>
          <a:prstGeom prst="rect">
            <a:avLst/>
          </a:prstGeom>
        </p:spPr>
        <p:txBody>
          <a:bodyPr>
            <a:spAutoFit/>
          </a:bodyPr>
          <a:lstStyle>
            <a:lvl1pPr algn="l">
              <a:defRPr sz="4400">
                <a:solidFill>
                  <a:schemeClr val="bg1"/>
                </a:solidFill>
              </a:defRPr>
            </a:lvl1pPr>
          </a:lstStyle>
          <a:p>
            <a:r>
              <a:rPr lang="en-US" dirty="0"/>
              <a:t>Click to edit Master title style</a:t>
            </a:r>
          </a:p>
        </p:txBody>
      </p:sp>
      <p:sp>
        <p:nvSpPr>
          <p:cNvPr id="12" name="Slide Number Placeholder 3"/>
          <p:cNvSpPr>
            <a:spLocks noGrp="1"/>
          </p:cNvSpPr>
          <p:nvPr>
            <p:ph type="sldNum" sz="quarter" idx="15"/>
          </p:nvPr>
        </p:nvSpPr>
        <p:spPr>
          <a:xfrm>
            <a:off x="11367166" y="6437742"/>
            <a:ext cx="555597" cy="133860"/>
          </a:xfrm>
        </p:spPr>
        <p:txBody>
          <a:bodyPr/>
          <a:lstStyle>
            <a:lvl1pPr>
              <a:defRPr/>
            </a:lvl1pPr>
          </a:lstStyle>
          <a:p>
            <a:fld id="{6052FC3A-E1BD-E54F-9A48-71EBDEF00552}" type="slidenum">
              <a:rPr lang="en-US"/>
              <a:pPr/>
              <a:t>‹#›</a:t>
            </a:fld>
            <a:endParaRPr lang="en-US" dirty="0"/>
          </a:p>
        </p:txBody>
      </p:sp>
      <p:sp>
        <p:nvSpPr>
          <p:cNvPr id="3" name="Content Placeholder 2"/>
          <p:cNvSpPr>
            <a:spLocks noGrp="1"/>
          </p:cNvSpPr>
          <p:nvPr>
            <p:ph sz="quarter" idx="16"/>
          </p:nvPr>
        </p:nvSpPr>
        <p:spPr>
          <a:xfrm>
            <a:off x="4136528" y="742950"/>
            <a:ext cx="7785597" cy="5372100"/>
          </a:xfrm>
        </p:spPr>
        <p:txBody>
          <a:bodyPr/>
          <a:lstStyle>
            <a:lvl1pPr marL="0" indent="0">
              <a:spcBef>
                <a:spcPts val="1200"/>
              </a:spcBef>
              <a:buNone/>
              <a:defRPr sz="3200"/>
            </a:lvl1pPr>
            <a:lvl2pPr marL="0" indent="0">
              <a:spcBef>
                <a:spcPts val="1200"/>
              </a:spcBef>
              <a:buNone/>
              <a:defRPr sz="2000"/>
            </a:lvl2pPr>
            <a:lvl3pPr marL="560241" indent="0">
              <a:buNone/>
              <a:defRPr sz="1800"/>
            </a:lvl3pPr>
          </a:lstStyle>
          <a:p>
            <a:pPr lvl="0"/>
            <a:r>
              <a:rPr lang="en-US" dirty="0"/>
              <a:t>Click to edit Master text styles</a:t>
            </a:r>
          </a:p>
          <a:p>
            <a:pPr lvl="1"/>
            <a:r>
              <a:rPr lang="en-US" dirty="0"/>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124524699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1"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userDrawn="1"/>
        </p:nvSpPr>
        <p:spPr>
          <a:xfrm>
            <a:off x="9918257"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4"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9" y="286383"/>
            <a:ext cx="2626673" cy="1514261"/>
          </a:xfrm>
          <a:prstGeom prst="rect">
            <a:avLst/>
          </a:prstGeom>
        </p:spPr>
        <p:txBody>
          <a:bodyPr wrap="square">
            <a:spAutoFit/>
          </a:bodyPr>
          <a:lstStyle>
            <a:lvl1pPr algn="l">
              <a:defRPr sz="3200"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367166" y="6437742"/>
            <a:ext cx="555597" cy="133860"/>
          </a:xfrm>
        </p:spPr>
        <p:txBody>
          <a:bodyPr/>
          <a:lstStyle>
            <a:lvl1pPr>
              <a:defRPr/>
            </a:lvl1pPr>
          </a:lstStyle>
          <a:p>
            <a:fld id="{6052FC3A-E1BD-E54F-9A48-71EBDEF00552}" type="slidenum">
              <a:rPr lang="en-US"/>
              <a:pPr/>
              <a:t>‹#›</a:t>
            </a:fld>
            <a:endParaRPr lang="en-US" dirty="0"/>
          </a:p>
        </p:txBody>
      </p:sp>
      <p:sp>
        <p:nvSpPr>
          <p:cNvPr id="13" name="Content Placeholder 2"/>
          <p:cNvSpPr>
            <a:spLocks noGrp="1"/>
          </p:cNvSpPr>
          <p:nvPr>
            <p:ph sz="quarter" idx="16"/>
          </p:nvPr>
        </p:nvSpPr>
        <p:spPr>
          <a:xfrm>
            <a:off x="3047516" y="742950"/>
            <a:ext cx="8874611" cy="5372100"/>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dirty="0"/>
              <a:t>Click to edit Master text styles</a:t>
            </a:r>
          </a:p>
          <a:p>
            <a:pPr lvl="1"/>
            <a:r>
              <a:rPr lang="en-US" dirty="0"/>
              <a:t>Second level</a:t>
            </a:r>
          </a:p>
        </p:txBody>
      </p:sp>
      <p:sp>
        <p:nvSpPr>
          <p:cNvPr id="14" name="TextBox 13"/>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34971399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and 2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1"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userDrawn="1"/>
        </p:nvSpPr>
        <p:spPr>
          <a:xfrm>
            <a:off x="9918257"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4"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9" y="286383"/>
            <a:ext cx="2626673" cy="1514261"/>
          </a:xfrm>
          <a:prstGeom prst="rect">
            <a:avLst/>
          </a:prstGeom>
        </p:spPr>
        <p:txBody>
          <a:bodyPr wrap="square">
            <a:spAutoFit/>
          </a:bodyPr>
          <a:lstStyle>
            <a:lvl1pPr algn="l">
              <a:defRPr sz="3200" spc="0">
                <a:solidFill>
                  <a:schemeClr val="bg1"/>
                </a:solidFill>
              </a:defRPr>
            </a:lvl1pPr>
          </a:lstStyle>
          <a:p>
            <a:r>
              <a:rPr lang="en-US" dirty="0"/>
              <a:t>Click to edit Master title style</a:t>
            </a:r>
          </a:p>
        </p:txBody>
      </p:sp>
      <p:sp>
        <p:nvSpPr>
          <p:cNvPr id="11" name="Slide Number Placeholder 3"/>
          <p:cNvSpPr>
            <a:spLocks noGrp="1"/>
          </p:cNvSpPr>
          <p:nvPr>
            <p:ph type="sldNum" sz="quarter" idx="15"/>
          </p:nvPr>
        </p:nvSpPr>
        <p:spPr>
          <a:xfrm>
            <a:off x="11367166" y="6437742"/>
            <a:ext cx="555597" cy="133860"/>
          </a:xfrm>
        </p:spPr>
        <p:txBody>
          <a:bodyPr/>
          <a:lstStyle>
            <a:lvl1pPr>
              <a:defRPr/>
            </a:lvl1pPr>
          </a:lstStyle>
          <a:p>
            <a:fld id="{6052FC3A-E1BD-E54F-9A48-71EBDEF00552}" type="slidenum">
              <a:rPr lang="en-US"/>
              <a:pPr/>
              <a:t>‹#›</a:t>
            </a:fld>
            <a:endParaRPr lang="en-US" dirty="0"/>
          </a:p>
        </p:txBody>
      </p:sp>
      <p:sp>
        <p:nvSpPr>
          <p:cNvPr id="13" name="Content Placeholder 2"/>
          <p:cNvSpPr>
            <a:spLocks noGrp="1"/>
          </p:cNvSpPr>
          <p:nvPr>
            <p:ph sz="quarter" idx="16"/>
          </p:nvPr>
        </p:nvSpPr>
        <p:spPr>
          <a:xfrm>
            <a:off x="3047516"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dirty="0"/>
              <a:t>Click to edit Master text styles</a:t>
            </a:r>
          </a:p>
          <a:p>
            <a:pPr lvl="1"/>
            <a:r>
              <a:rPr lang="en-US" dirty="0"/>
              <a:t>Second level</a:t>
            </a:r>
          </a:p>
        </p:txBody>
      </p:sp>
      <p:sp>
        <p:nvSpPr>
          <p:cNvPr id="14" name="Content Placeholder 2"/>
          <p:cNvSpPr>
            <a:spLocks noGrp="1"/>
          </p:cNvSpPr>
          <p:nvPr>
            <p:ph sz="quarter" idx="17"/>
          </p:nvPr>
        </p:nvSpPr>
        <p:spPr>
          <a:xfrm>
            <a:off x="7571059"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dirty="0"/>
              <a:t>Click to edit Master text styles</a:t>
            </a:r>
          </a:p>
          <a:p>
            <a:pPr lvl="1"/>
            <a:r>
              <a:rPr lang="en-US" dirty="0"/>
              <a:t>Second level</a:t>
            </a:r>
          </a:p>
        </p:txBody>
      </p:sp>
      <p:sp>
        <p:nvSpPr>
          <p:cNvPr id="15" name="TextBox 1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392455451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mall Title and Content with Label">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1"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8" name="TextBox 7"/>
          <p:cNvSpPr txBox="1"/>
          <p:nvPr userDrawn="1"/>
        </p:nvSpPr>
        <p:spPr>
          <a:xfrm>
            <a:off x="9918257"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4"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dirty="0">
              <a:gradFill>
                <a:gsLst>
                  <a:gs pos="2917">
                    <a:srgbClr val="FFFFFF"/>
                  </a:gs>
                  <a:gs pos="30000">
                    <a:srgbClr val="FFFFFF"/>
                  </a:gs>
                </a:gsLst>
                <a:lin ang="5400000" scaled="0"/>
              </a:gradFill>
              <a:ea typeface="MS PGothic" charset="0"/>
            </a:endParaRPr>
          </a:p>
        </p:txBody>
      </p:sp>
      <p:sp>
        <p:nvSpPr>
          <p:cNvPr id="6" name="Rectangle 5"/>
          <p:cNvSpPr/>
          <p:nvPr userDrawn="1"/>
        </p:nvSpPr>
        <p:spPr>
          <a:xfrm>
            <a:off x="1" y="5712984"/>
            <a:ext cx="1905001" cy="625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ctr"/>
            <a:endParaRPr lang="en-US" sz="1800" dirty="0">
              <a:ln>
                <a:solidFill>
                  <a:srgbClr val="FFFFFF">
                    <a:alpha val="0"/>
                  </a:srgbClr>
                </a:solidFill>
              </a:ln>
              <a:solidFill>
                <a:srgbClr val="FFFFFF"/>
              </a:solidFill>
            </a:endParaRPr>
          </a:p>
        </p:txBody>
      </p:sp>
      <p:sp>
        <p:nvSpPr>
          <p:cNvPr id="21" name="Slide Number Placeholder 3"/>
          <p:cNvSpPr>
            <a:spLocks noGrp="1"/>
          </p:cNvSpPr>
          <p:nvPr>
            <p:ph type="sldNum" sz="quarter" idx="15"/>
          </p:nvPr>
        </p:nvSpPr>
        <p:spPr>
          <a:xfrm>
            <a:off x="11367166" y="6437742"/>
            <a:ext cx="555597" cy="133860"/>
          </a:xfrm>
        </p:spPr>
        <p:txBody>
          <a:bodyPr/>
          <a:lstStyle>
            <a:lvl1pPr>
              <a:defRPr/>
            </a:lvl1pPr>
          </a:lstStyle>
          <a:p>
            <a:fld id="{6052FC3A-E1BD-E54F-9A48-71EBDEF00552}" type="slidenum">
              <a:rPr lang="en-US"/>
              <a:pPr/>
              <a:t>‹#›</a:t>
            </a:fld>
            <a:endParaRPr lang="en-US" dirty="0"/>
          </a:p>
        </p:txBody>
      </p:sp>
      <p:sp>
        <p:nvSpPr>
          <p:cNvPr id="25" name="Text Placeholder 5"/>
          <p:cNvSpPr>
            <a:spLocks noGrp="1"/>
          </p:cNvSpPr>
          <p:nvPr>
            <p:ph type="body" sz="quarter" idx="13"/>
          </p:nvPr>
        </p:nvSpPr>
        <p:spPr>
          <a:xfrm>
            <a:off x="95666" y="5803737"/>
            <a:ext cx="1695035" cy="444665"/>
          </a:xfrm>
          <a:prstGeom prst="rect">
            <a:avLst/>
          </a:prstGeom>
        </p:spPr>
        <p:txBody>
          <a:bodyPr lIns="91440" tIns="91440" rIns="91440" bIns="91440" anchor="ctr" anchorCtr="0"/>
          <a:lstStyle>
            <a:lvl1pPr marL="0" indent="0">
              <a:buNone/>
              <a:defRPr lang="en-US" sz="1600" kern="1200" spc="0" dirty="0">
                <a:ln w="3175">
                  <a:noFill/>
                </a:ln>
                <a:solidFill>
                  <a:srgbClr val="505050"/>
                </a:solidFill>
                <a:latin typeface="+mn-lt"/>
                <a:ea typeface="ＭＳ Ｐゴシック" charset="0"/>
                <a:cs typeface="Segoe UI" pitchFamily="34" charset="0"/>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a:t>
            </a:r>
          </a:p>
        </p:txBody>
      </p:sp>
      <p:sp>
        <p:nvSpPr>
          <p:cNvPr id="26" name="Title 2"/>
          <p:cNvSpPr>
            <a:spLocks noGrp="1"/>
          </p:cNvSpPr>
          <p:nvPr>
            <p:ph type="title"/>
          </p:nvPr>
        </p:nvSpPr>
        <p:spPr>
          <a:xfrm>
            <a:off x="268929" y="286383"/>
            <a:ext cx="2626673" cy="1514261"/>
          </a:xfrm>
          <a:prstGeom prst="rect">
            <a:avLst/>
          </a:prstGeom>
        </p:spPr>
        <p:txBody>
          <a:bodyPr wrap="square">
            <a:spAutoFit/>
          </a:bodyPr>
          <a:lstStyle>
            <a:lvl1pPr algn="l">
              <a:defRPr sz="3200" spc="0">
                <a:solidFill>
                  <a:schemeClr val="bg1"/>
                </a:solidFill>
              </a:defRPr>
            </a:lvl1pPr>
          </a:lstStyle>
          <a:p>
            <a:r>
              <a:rPr lang="en-US" dirty="0"/>
              <a:t>Click to edit Master title style</a:t>
            </a:r>
          </a:p>
        </p:txBody>
      </p:sp>
      <p:sp>
        <p:nvSpPr>
          <p:cNvPr id="27" name="Content Placeholder 2"/>
          <p:cNvSpPr>
            <a:spLocks noGrp="1"/>
          </p:cNvSpPr>
          <p:nvPr>
            <p:ph sz="quarter" idx="16"/>
          </p:nvPr>
        </p:nvSpPr>
        <p:spPr>
          <a:xfrm>
            <a:off x="3047516" y="742950"/>
            <a:ext cx="8874611" cy="5372100"/>
          </a:xfrm>
        </p:spPr>
        <p:txBody>
          <a:bodyPr/>
          <a:lstStyle>
            <a:lvl1pPr marL="0" indent="0">
              <a:spcBef>
                <a:spcPts val="1200"/>
              </a:spcBef>
              <a:buNone/>
              <a:defRPr sz="2800"/>
            </a:lvl1pPr>
            <a:lvl2pPr>
              <a:spcBef>
                <a:spcPts val="1200"/>
              </a:spcBef>
              <a:defRPr sz="2000"/>
            </a:lvl2pPr>
            <a:lvl3pPr>
              <a:defRPr sz="1800"/>
            </a:lvl3pPr>
          </a:lstStyle>
          <a:p>
            <a:pPr lvl="0"/>
            <a:r>
              <a:rPr lang="en-US" dirty="0"/>
              <a:t>Click to edit Master text styles</a:t>
            </a:r>
          </a:p>
          <a:p>
            <a:pPr lvl="1"/>
            <a:r>
              <a:rPr lang="en-US" dirty="0"/>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328108741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Freeform 9"/>
          <p:cNvSpPr>
            <a:spLocks/>
          </p:cNvSpPr>
          <p:nvPr userDrawn="1"/>
        </p:nvSpPr>
        <p:spPr bwMode="auto">
          <a:xfrm rot="10800000" flipH="1" flipV="1">
            <a:off x="9144485" y="2"/>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6" name="Text Placeholder 5"/>
          <p:cNvSpPr>
            <a:spLocks noGrp="1"/>
          </p:cNvSpPr>
          <p:nvPr>
            <p:ph type="body" sz="quarter" idx="13"/>
          </p:nvPr>
        </p:nvSpPr>
        <p:spPr>
          <a:xfrm>
            <a:off x="269241" y="1022327"/>
            <a:ext cx="9369016"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dirty="0"/>
              <a:t>Click to edit Master text styles</a:t>
            </a:r>
          </a:p>
        </p:txBody>
      </p:sp>
      <p:sp>
        <p:nvSpPr>
          <p:cNvPr id="7" name="Title 2"/>
          <p:cNvSpPr>
            <a:spLocks noGrp="1"/>
          </p:cNvSpPr>
          <p:nvPr>
            <p:ph type="title"/>
          </p:nvPr>
        </p:nvSpPr>
        <p:spPr>
          <a:xfrm>
            <a:off x="268929" y="286381"/>
            <a:ext cx="10094273" cy="774046"/>
          </a:xfrm>
          <a:prstGeom prst="rect">
            <a:avLst/>
          </a:prstGeom>
        </p:spPr>
        <p:txBody>
          <a:bodyPr/>
          <a:lstStyle>
            <a:lvl1pPr algn="l">
              <a:defRPr sz="4400">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solidFill>
                  <a:srgbClr val="FFFFFF"/>
                </a:solidFill>
              </a:rPr>
              <a:pPr/>
              <a:t>‹#›</a:t>
            </a:fld>
            <a:endParaRPr lang="en-US" dirty="0">
              <a:solidFill>
                <a:srgbClr val="FFFFFF"/>
              </a:solidFill>
            </a:endParaRP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FFFFFF"/>
                </a:solidFill>
              </a:rPr>
              <a:t>Microsoft Confidential</a:t>
            </a:r>
          </a:p>
        </p:txBody>
      </p:sp>
    </p:spTree>
    <p:extLst>
      <p:ext uri="{BB962C8B-B14F-4D97-AF65-F5344CB8AC3E}">
        <p14:creationId xmlns:p14="http://schemas.microsoft.com/office/powerpoint/2010/main" val="40036138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Color w/Photo Block Title on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7415" r="64992"/>
          <a:stretch/>
        </p:blipFill>
        <p:spPr>
          <a:xfrm>
            <a:off x="-1" y="-1"/>
            <a:ext cx="5676901" cy="6858002"/>
          </a:xfrm>
          <a:prstGeom prst="rect">
            <a:avLst/>
          </a:prstGeom>
        </p:spPr>
      </p:pic>
      <p:sp>
        <p:nvSpPr>
          <p:cNvPr id="18" name="Freeform 17"/>
          <p:cNvSpPr>
            <a:spLocks/>
          </p:cNvSpPr>
          <p:nvPr userDrawn="1"/>
        </p:nvSpPr>
        <p:spPr bwMode="auto">
          <a:xfrm flipH="1" flipV="1">
            <a:off x="1"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7" name="Title 2"/>
          <p:cNvSpPr>
            <a:spLocks noGrp="1"/>
          </p:cNvSpPr>
          <p:nvPr>
            <p:ph type="title"/>
          </p:nvPr>
        </p:nvSpPr>
        <p:spPr>
          <a:xfrm>
            <a:off x="472129"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1" y="-2"/>
            <a:ext cx="8182219"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26" name="Content Placeholder 25"/>
          <p:cNvSpPr>
            <a:spLocks noGrp="1"/>
          </p:cNvSpPr>
          <p:nvPr>
            <p:ph sz="quarter" idx="17"/>
          </p:nvPr>
        </p:nvSpPr>
        <p:spPr>
          <a:xfrm>
            <a:off x="5476198" y="1108076"/>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279867258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Color w/Photo Block Title on Lef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1674" r="50733"/>
          <a:stretch/>
        </p:blipFill>
        <p:spPr>
          <a:xfrm>
            <a:off x="-1" y="-1"/>
            <a:ext cx="5676901" cy="6858002"/>
          </a:xfrm>
          <a:prstGeom prst="rect">
            <a:avLst/>
          </a:prstGeom>
        </p:spPr>
      </p:pic>
      <p:sp>
        <p:nvSpPr>
          <p:cNvPr id="18" name="Freeform 17"/>
          <p:cNvSpPr>
            <a:spLocks/>
          </p:cNvSpPr>
          <p:nvPr userDrawn="1"/>
        </p:nvSpPr>
        <p:spPr bwMode="auto">
          <a:xfrm flipH="1" flipV="1">
            <a:off x="1"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7" name="Title 2"/>
          <p:cNvSpPr>
            <a:spLocks noGrp="1"/>
          </p:cNvSpPr>
          <p:nvPr>
            <p:ph type="title"/>
          </p:nvPr>
        </p:nvSpPr>
        <p:spPr>
          <a:xfrm>
            <a:off x="472129"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1" y="-2"/>
            <a:ext cx="8182219"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12" name="Content Placeholder 25"/>
          <p:cNvSpPr>
            <a:spLocks noGrp="1"/>
          </p:cNvSpPr>
          <p:nvPr>
            <p:ph sz="quarter" idx="17"/>
          </p:nvPr>
        </p:nvSpPr>
        <p:spPr>
          <a:xfrm>
            <a:off x="5476198" y="1108076"/>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282656631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Color w/Photo Block Title on Lef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54154" r="18253"/>
          <a:stretch/>
        </p:blipFill>
        <p:spPr>
          <a:xfrm>
            <a:off x="-1" y="-1"/>
            <a:ext cx="5676901" cy="6858002"/>
          </a:xfrm>
          <a:prstGeom prst="rect">
            <a:avLst/>
          </a:prstGeom>
        </p:spPr>
      </p:pic>
      <p:sp>
        <p:nvSpPr>
          <p:cNvPr id="18" name="Freeform 17"/>
          <p:cNvSpPr>
            <a:spLocks/>
          </p:cNvSpPr>
          <p:nvPr userDrawn="1"/>
        </p:nvSpPr>
        <p:spPr bwMode="auto">
          <a:xfrm flipH="1" flipV="1">
            <a:off x="1"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7" name="Title 2"/>
          <p:cNvSpPr>
            <a:spLocks noGrp="1"/>
          </p:cNvSpPr>
          <p:nvPr>
            <p:ph type="title"/>
          </p:nvPr>
        </p:nvSpPr>
        <p:spPr>
          <a:xfrm>
            <a:off x="472129"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20" name="Freeform 19"/>
          <p:cNvSpPr/>
          <p:nvPr userDrawn="1"/>
        </p:nvSpPr>
        <p:spPr bwMode="auto">
          <a:xfrm>
            <a:off x="4009781" y="-2"/>
            <a:ext cx="8182219"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12" name="Content Placeholder 25"/>
          <p:cNvSpPr>
            <a:spLocks noGrp="1"/>
          </p:cNvSpPr>
          <p:nvPr>
            <p:ph sz="quarter" idx="17"/>
          </p:nvPr>
        </p:nvSpPr>
        <p:spPr>
          <a:xfrm>
            <a:off x="5476198" y="1108076"/>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91773220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olor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2"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sz="1800" dirty="0">
              <a:solidFill>
                <a:srgbClr val="000000"/>
              </a:solidFill>
            </a:endParaRPr>
          </a:p>
        </p:txBody>
      </p:sp>
      <p:sp>
        <p:nvSpPr>
          <p:cNvPr id="7" name="Title 2"/>
          <p:cNvSpPr>
            <a:spLocks noGrp="1"/>
          </p:cNvSpPr>
          <p:nvPr>
            <p:ph type="title"/>
          </p:nvPr>
        </p:nvSpPr>
        <p:spPr>
          <a:xfrm>
            <a:off x="472129" y="1108673"/>
            <a:ext cx="3934772" cy="927940"/>
          </a:xfrm>
          <a:prstGeom prst="rect">
            <a:avLst/>
          </a:prstGeom>
        </p:spPr>
        <p:txBody>
          <a:bodyPr/>
          <a:lstStyle>
            <a:lvl1pPr algn="l">
              <a:defRPr sz="4400" spc="0">
                <a:solidFill>
                  <a:schemeClr val="bg1"/>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dirty="0"/>
          </a:p>
        </p:txBody>
      </p:sp>
      <p:sp>
        <p:nvSpPr>
          <p:cNvPr id="10" name="Content Placeholder 25"/>
          <p:cNvSpPr>
            <a:spLocks noGrp="1"/>
          </p:cNvSpPr>
          <p:nvPr>
            <p:ph sz="quarter" idx="17"/>
          </p:nvPr>
        </p:nvSpPr>
        <p:spPr>
          <a:xfrm>
            <a:off x="5476198" y="1108076"/>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dirty="0"/>
              <a:t>Click to edit Master text styles</a:t>
            </a:r>
          </a:p>
          <a:p>
            <a:pPr lvl="1"/>
            <a:r>
              <a:rPr lang="en-US" dirty="0"/>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299136543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or Block Content on Right">
    <p:spTree>
      <p:nvGrpSpPr>
        <p:cNvPr id="1" name=""/>
        <p:cNvGrpSpPr/>
        <p:nvPr/>
      </p:nvGrpSpPr>
      <p:grpSpPr>
        <a:xfrm>
          <a:off x="0" y="0"/>
          <a:ext cx="0" cy="0"/>
          <a:chOff x="0" y="0"/>
          <a:chExt cx="0" cy="0"/>
        </a:xfrm>
      </p:grpSpPr>
      <p:sp>
        <p:nvSpPr>
          <p:cNvPr id="21" name="Freeform 20"/>
          <p:cNvSpPr/>
          <p:nvPr userDrawn="1"/>
        </p:nvSpPr>
        <p:spPr bwMode="auto">
          <a:xfrm>
            <a:off x="4009781" y="-2"/>
            <a:ext cx="8182219"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 name="Title 2"/>
          <p:cNvSpPr>
            <a:spLocks noGrp="1"/>
          </p:cNvSpPr>
          <p:nvPr>
            <p:ph type="title"/>
          </p:nvPr>
        </p:nvSpPr>
        <p:spPr>
          <a:xfrm>
            <a:off x="472128" y="1108673"/>
            <a:ext cx="4432965" cy="927940"/>
          </a:xfrm>
          <a:prstGeom prst="rect">
            <a:avLst/>
          </a:prstGeom>
        </p:spPr>
        <p:txBody>
          <a:bodyPr/>
          <a:lstStyle>
            <a:lvl1pPr algn="l">
              <a:defRPr sz="4400" spc="0">
                <a:solidFill>
                  <a:schemeClr val="tx2"/>
                </a:solidFill>
              </a:defRPr>
            </a:lvl1pPr>
          </a:lstStyle>
          <a:p>
            <a:r>
              <a:rPr lang="en-US" dirty="0"/>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solidFill>
                  <a:srgbClr val="FFFFFF"/>
                </a:solidFill>
              </a:rPr>
              <a:pPr/>
              <a:t>‹#›</a:t>
            </a:fld>
            <a:endParaRPr lang="en-US" dirty="0">
              <a:solidFill>
                <a:srgbClr val="FFFFFF"/>
              </a:solidFill>
            </a:endParaRPr>
          </a:p>
        </p:txBody>
      </p:sp>
      <p:sp>
        <p:nvSpPr>
          <p:cNvPr id="25" name="Content Placeholder 25"/>
          <p:cNvSpPr>
            <a:spLocks noGrp="1"/>
          </p:cNvSpPr>
          <p:nvPr>
            <p:ph sz="quarter" idx="17"/>
          </p:nvPr>
        </p:nvSpPr>
        <p:spPr>
          <a:xfrm>
            <a:off x="5476198" y="1108076"/>
            <a:ext cx="6446565" cy="4746625"/>
          </a:xfrm>
        </p:spPr>
        <p:txBody>
          <a:bodyPr/>
          <a:lstStyle>
            <a:lvl1pPr marL="0" indent="0">
              <a:spcBef>
                <a:spcPts val="1200"/>
              </a:spcBef>
              <a:buNone/>
              <a:defRPr sz="2800">
                <a:solidFill>
                  <a:schemeClr val="bg1"/>
                </a:solidFill>
              </a:defRPr>
            </a:lvl1pPr>
            <a:lvl2pPr>
              <a:spcBef>
                <a:spcPts val="1200"/>
              </a:spcBef>
              <a:defRPr sz="1800">
                <a:solidFill>
                  <a:schemeClr val="bg1"/>
                </a:solidFill>
              </a:defRPr>
            </a:lvl2pPr>
            <a:lvl3pPr>
              <a:defRPr sz="1800">
                <a:solidFill>
                  <a:schemeClr val="bg1"/>
                </a:solidFill>
              </a:defRPr>
            </a:lvl3pPr>
          </a:lstStyle>
          <a:p>
            <a:pPr lvl="0"/>
            <a:r>
              <a:rPr lang="en-US" dirty="0"/>
              <a:t>Click to edit Master text styles</a:t>
            </a:r>
          </a:p>
          <a:p>
            <a:pPr lvl="1"/>
            <a:r>
              <a:rPr lang="en-US" dirty="0"/>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FFFFFF"/>
                </a:solidFill>
              </a:rPr>
              <a:t>Microsoft Confidential</a:t>
            </a:r>
          </a:p>
        </p:txBody>
      </p:sp>
    </p:spTree>
    <p:extLst>
      <p:ext uri="{BB962C8B-B14F-4D97-AF65-F5344CB8AC3E}">
        <p14:creationId xmlns:p14="http://schemas.microsoft.com/office/powerpoint/2010/main" val="27866715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dirty="0"/>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dirty="0">
                <a:solidFill>
                  <a:srgbClr val="505050"/>
                </a:solidFill>
              </a:rPr>
              <a:t>Microsoft Confidential</a:t>
            </a:r>
          </a:p>
        </p:txBody>
      </p:sp>
    </p:spTree>
    <p:extLst>
      <p:ext uri="{BB962C8B-B14F-4D97-AF65-F5344CB8AC3E}">
        <p14:creationId xmlns:p14="http://schemas.microsoft.com/office/powerpoint/2010/main" val="12561833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33554020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3975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90517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22020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1498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959665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08439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41148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64883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089523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174"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latin typeface="+mj-lt"/>
              </a:defRPr>
            </a:lvl1pPr>
          </a:lstStyle>
          <a:p>
            <a:r>
              <a:rPr lang="en-US" dirty="0"/>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spTree>
    <p:extLst>
      <p:ext uri="{BB962C8B-B14F-4D97-AF65-F5344CB8AC3E}">
        <p14:creationId xmlns:p14="http://schemas.microsoft.com/office/powerpoint/2010/main" val="40163393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5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89350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99988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7168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58414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5636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0957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1614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dirty="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121302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477722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76628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Intro Section">
    <p:spTree>
      <p:nvGrpSpPr>
        <p:cNvPr id="1" name=""/>
        <p:cNvGrpSpPr/>
        <p:nvPr/>
      </p:nvGrpSpPr>
      <p:grpSpPr>
        <a:xfrm>
          <a:off x="0" y="0"/>
          <a:ext cx="0" cy="0"/>
          <a:chOff x="0" y="0"/>
          <a:chExt cx="0" cy="0"/>
        </a:xfrm>
      </p:grpSpPr>
      <p:sp>
        <p:nvSpPr>
          <p:cNvPr id="3" name="Rectangle 2"/>
          <p:cNvSpPr/>
          <p:nvPr userDrawn="1"/>
        </p:nvSpPr>
        <p:spPr>
          <a:xfrm>
            <a:off x="-16832" y="-21893"/>
            <a:ext cx="12210420" cy="8323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defTabSz="914228"/>
            <a:endParaRPr lang="en-US" sz="2400" b="1">
              <a:solidFill>
                <a:schemeClr val="accent1"/>
              </a:solidFill>
            </a:endParaRPr>
          </a:p>
        </p:txBody>
      </p:sp>
      <p:sp>
        <p:nvSpPr>
          <p:cNvPr id="4" name="Text Placeholder 4"/>
          <p:cNvSpPr txBox="1">
            <a:spLocks/>
          </p:cNvSpPr>
          <p:nvPr/>
        </p:nvSpPr>
        <p:spPr>
          <a:xfrm>
            <a:off x="1" y="846138"/>
            <a:ext cx="12192000"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endParaRPr lang="en-US" sz="2400">
              <a:solidFill>
                <a:schemeClr val="accent2"/>
              </a:solidFill>
              <a:latin typeface="Segoe UI Light" panose="020B0502040204020203" pitchFamily="34" charset="0"/>
              <a:cs typeface="Segoe UI Light" panose="020B0502040204020203" pitchFamily="34" charset="0"/>
            </a:endParaRPr>
          </a:p>
        </p:txBody>
      </p:sp>
      <p:sp>
        <p:nvSpPr>
          <p:cNvPr id="5" name="Rectangle 4"/>
          <p:cNvSpPr/>
          <p:nvPr/>
        </p:nvSpPr>
        <p:spPr bwMode="auto">
          <a:xfrm>
            <a:off x="227071" y="1600201"/>
            <a:ext cx="4804387" cy="1889653"/>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914099" fontAlgn="base">
              <a:spcBef>
                <a:spcPct val="0"/>
              </a:spcBef>
              <a:spcAft>
                <a:spcPct val="0"/>
              </a:spcAft>
            </a:pPr>
            <a:endParaRPr lang="en-US" sz="2000">
              <a:solidFill>
                <a:schemeClr val="accent1"/>
              </a:solidFill>
              <a:ea typeface="Segoe UI" panose="020B0502040204020203" pitchFamily="34" charset="0"/>
              <a:cs typeface="Segoe UI" panose="020B0502040204020203" pitchFamily="34" charset="0"/>
            </a:endParaRPr>
          </a:p>
        </p:txBody>
      </p:sp>
      <p:sp>
        <p:nvSpPr>
          <p:cNvPr id="6" name="Title 1"/>
          <p:cNvSpPr txBox="1">
            <a:spLocks/>
          </p:cNvSpPr>
          <p:nvPr/>
        </p:nvSpPr>
        <p:spPr>
          <a:xfrm>
            <a:off x="280627" y="-5201"/>
            <a:ext cx="8025748" cy="823071"/>
          </a:xfrm>
          <a:prstGeom prst="rect">
            <a:avLst/>
          </a:prstGeom>
          <a:effectLst/>
        </p:spPr>
        <p:txBody>
          <a:bodyPr lIns="91424" tIns="45710" rIns="91424" bIns="4571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algn="l">
              <a:lnSpc>
                <a:spcPts val="3500"/>
              </a:lnSpc>
            </a:pPr>
            <a:endParaRPr lang="en-US" sz="2400" i="0" kern="900">
              <a:gradFill>
                <a:gsLst>
                  <a:gs pos="100000">
                    <a:schemeClr val="accent1"/>
                  </a:gs>
                  <a:gs pos="0">
                    <a:schemeClr val="accent1"/>
                  </a:gs>
                </a:gsLst>
                <a:lin ang="5400000" scaled="0"/>
              </a:gradFill>
            </a:endParaRPr>
          </a:p>
        </p:txBody>
      </p:sp>
    </p:spTree>
    <p:extLst>
      <p:ext uri="{BB962C8B-B14F-4D97-AF65-F5344CB8AC3E}">
        <p14:creationId xmlns:p14="http://schemas.microsoft.com/office/powerpoint/2010/main" val="186134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50203" y="3083653"/>
            <a:ext cx="3223868" cy="690695"/>
          </a:xfrm>
          <a:prstGeom prst="rect">
            <a:avLst/>
          </a:prstGeom>
        </p:spPr>
      </p:pic>
      <p:sp>
        <p:nvSpPr>
          <p:cNvPr id="4"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algn="l" defTabSz="913924" eaLnBrk="0" hangingPunct="0"/>
            <a:r>
              <a:rPr lang="en-US" sz="686" dirty="0">
                <a:gradFill>
                  <a:gsLst>
                    <a:gs pos="0">
                      <a:schemeClr val="tx1"/>
                    </a:gs>
                    <a:gs pos="100000">
                      <a:schemeClr val="tx1"/>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algn="l" defTabSz="913924" eaLnBrk="0" hangingPunct="0"/>
            <a:r>
              <a:rPr lang="en-US" sz="686"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244938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Tree>
    <p:extLst>
      <p:ext uri="{BB962C8B-B14F-4D97-AF65-F5344CB8AC3E}">
        <p14:creationId xmlns:p14="http://schemas.microsoft.com/office/powerpoint/2010/main" val="2761257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948719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79285" rIns="179259" bIns="143407" numCol="1" spcCol="0" rtlCol="0" fromWordArt="0" anchor="t" anchorCtr="0" forceAA="0" compatLnSpc="1">
            <a:prstTxWarp prst="textNoShape">
              <a:avLst/>
            </a:prstTxWarp>
            <a:noAutofit/>
          </a:bodyPr>
          <a:lstStyle/>
          <a:p>
            <a:pPr defTabSz="913927">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9476712" cy="1793090"/>
          </a:xfrm>
          <a:noFill/>
        </p:spPr>
        <p:txBody>
          <a:bodyPr lIns="182880" tIns="18288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20" y="471124"/>
            <a:ext cx="2507467" cy="537211"/>
          </a:xfrm>
          <a:prstGeom prst="rect">
            <a:avLst/>
          </a:prstGeom>
        </p:spPr>
      </p:pic>
      <p:sp>
        <p:nvSpPr>
          <p:cNvPr id="5" name="Text Placeholder 4"/>
          <p:cNvSpPr>
            <a:spLocks noGrp="1"/>
          </p:cNvSpPr>
          <p:nvPr>
            <p:ph type="body" sz="quarter" idx="12" hasCustomPrompt="1"/>
          </p:nvPr>
        </p:nvSpPr>
        <p:spPr>
          <a:xfrm>
            <a:off x="269303" y="3878574"/>
            <a:ext cx="9476713" cy="1792326"/>
          </a:xfrm>
          <a:noFill/>
        </p:spPr>
        <p:txBody>
          <a:bodyPr lIns="146304" tIns="109728" rIns="146304" bIns="109728">
            <a:noAutofit/>
          </a:bodyPr>
          <a:lstStyle>
            <a:lvl1pPr marL="0" indent="0">
              <a:spcBef>
                <a:spcPts val="0"/>
              </a:spcBef>
              <a:buNone/>
              <a:defRPr sz="3528"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214032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8" name="Picture 3" descr="C:\Users\Sarah\Documents\_SSD_Business\Client_collateral\MICROSOFT_DVD_ART\MICROSOFT PHOTOS\From Matt\006_Canada_BDO_Steve Payne.jpg"/>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
        <p:nvSpPr>
          <p:cNvPr id="2" name="Footer Placeholder 1"/>
          <p:cNvSpPr>
            <a:spLocks noGrp="1"/>
          </p:cNvSpPr>
          <p:nvPr>
            <p:ph type="ftr" sz="quarter" idx="15"/>
          </p:nvPr>
        </p:nvSpPr>
        <p:spPr>
          <a:xfrm>
            <a:off x="4038581" y="6356803"/>
            <a:ext cx="4114839" cy="364224"/>
          </a:xfrm>
          <a:prstGeom prst="rect">
            <a:avLst/>
          </a:prstGeom>
        </p:spPr>
        <p:txBody>
          <a:bodyPr/>
          <a:lstStyle/>
          <a:p>
            <a:r>
              <a:rPr lang="en-US"/>
              <a:t>Microsoft NDA-To be shared under NDA only</a:t>
            </a:r>
            <a:endParaRPr lang="en-US" dirty="0"/>
          </a:p>
        </p:txBody>
      </p:sp>
    </p:spTree>
    <p:extLst>
      <p:ext uri="{BB962C8B-B14F-4D97-AF65-F5344CB8AC3E}">
        <p14:creationId xmlns:p14="http://schemas.microsoft.com/office/powerpoint/2010/main" val="1987812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Slide 6">
    <p:spTree>
      <p:nvGrpSpPr>
        <p:cNvPr id="1" name=""/>
        <p:cNvGrpSpPr/>
        <p:nvPr/>
      </p:nvGrpSpPr>
      <p:grpSpPr>
        <a:xfrm>
          <a:off x="0" y="0"/>
          <a:ext cx="0" cy="0"/>
          <a:chOff x="0" y="0"/>
          <a:chExt cx="0" cy="0"/>
        </a:xfrm>
      </p:grpSpPr>
      <p:pic>
        <p:nvPicPr>
          <p:cNvPr id="11" name="Picture 2" descr="C:\Users\Sarah\Documents\_SSD_Business\Client_collateral\MICROSOFT_DVD_ART\MICROSOFT PHOTOS\Man.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240" y="2084172"/>
            <a:ext cx="7171399" cy="3586208"/>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69494"/>
            <a:ext cx="7172955" cy="1793104"/>
          </a:xfrm>
          <a:noFill/>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6"/>
            <a:ext cx="1522404" cy="326166"/>
          </a:xfrm>
          <a:prstGeom prst="rect">
            <a:avLst/>
          </a:prstGeom>
        </p:spPr>
      </p:pic>
    </p:spTree>
    <p:extLst>
      <p:ext uri="{BB962C8B-B14F-4D97-AF65-F5344CB8AC3E}">
        <p14:creationId xmlns:p14="http://schemas.microsoft.com/office/powerpoint/2010/main" val="757568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8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58" y="0"/>
            <a:ext cx="12201147" cy="68580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2084186"/>
            <a:ext cx="7171399" cy="3586194"/>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0" y="2084173"/>
            <a:ext cx="7171399" cy="1793104"/>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0" y="3877276"/>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bwMode="gray">
          <a:xfrm>
            <a:off x="449322" y="471124"/>
            <a:ext cx="1522404" cy="326167"/>
          </a:xfrm>
          <a:prstGeom prst="rect">
            <a:avLst/>
          </a:prstGeom>
        </p:spPr>
      </p:pic>
    </p:spTree>
    <p:extLst>
      <p:ext uri="{BB962C8B-B14F-4D97-AF65-F5344CB8AC3E}">
        <p14:creationId xmlns:p14="http://schemas.microsoft.com/office/powerpoint/2010/main" val="3294199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191595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3927">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935923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0978199"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200000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9443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148332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267796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32977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353251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925930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7669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theme" Target="../theme/theme10.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0" Type="http://schemas.openxmlformats.org/officeDocument/2006/relationships/slideLayout" Target="../slideLayouts/slideLayout200.xml"/><Relationship Id="rId4" Type="http://schemas.openxmlformats.org/officeDocument/2006/relationships/slideLayout" Target="../slideLayouts/slideLayout194.xml"/><Relationship Id="rId9" Type="http://schemas.openxmlformats.org/officeDocument/2006/relationships/slideLayout" Target="../slideLayouts/slideLayout199.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5" Type="http://schemas.openxmlformats.org/officeDocument/2006/relationships/slideLayout" Target="../slideLayouts/slideLayout207.xml"/><Relationship Id="rId4" Type="http://schemas.openxmlformats.org/officeDocument/2006/relationships/slideLayout" Target="../slideLayouts/slideLayout2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image" Target="../media/image17.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theme" Target="../theme/theme6.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theme" Target="../theme/theme7.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0" Type="http://schemas.openxmlformats.org/officeDocument/2006/relationships/slideLayout" Target="../slideLayouts/slideLayout155.xml"/><Relationship Id="rId4" Type="http://schemas.openxmlformats.org/officeDocument/2006/relationships/slideLayout" Target="../slideLayouts/slideLayout149.xml"/><Relationship Id="rId9"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theme" Target="../theme/theme8.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theme" Target="../theme/theme9.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766" r:id="rId2"/>
    <p:sldLayoutId id="2147484609" r:id="rId3"/>
    <p:sldLayoutId id="2147484610" r:id="rId4"/>
    <p:sldLayoutId id="2147484240" r:id="rId5"/>
    <p:sldLayoutId id="2147484710" r:id="rId6"/>
    <p:sldLayoutId id="2147484474" r:id="rId7"/>
    <p:sldLayoutId id="2147484736" r:id="rId8"/>
    <p:sldLayoutId id="2147484639" r:id="rId9"/>
    <p:sldLayoutId id="2147484603" r:id="rId10"/>
    <p:sldLayoutId id="2147484743" r:id="rId11"/>
    <p:sldLayoutId id="2147484765" r:id="rId12"/>
    <p:sldLayoutId id="2147484712" r:id="rId13"/>
    <p:sldLayoutId id="2147484714" r:id="rId14"/>
    <p:sldLayoutId id="2147484738" r:id="rId15"/>
    <p:sldLayoutId id="2147484739" r:id="rId16"/>
    <p:sldLayoutId id="2147484720" r:id="rId17"/>
    <p:sldLayoutId id="2147484249" r:id="rId18"/>
    <p:sldLayoutId id="2147484640" r:id="rId19"/>
    <p:sldLayoutId id="2147484584" r:id="rId20"/>
    <p:sldLayoutId id="2147484583" r:id="rId21"/>
    <p:sldLayoutId id="2147484671" r:id="rId22"/>
    <p:sldLayoutId id="2147484673" r:id="rId23"/>
    <p:sldLayoutId id="2147484585" r:id="rId24"/>
    <p:sldLayoutId id="2147484299" r:id="rId25"/>
    <p:sldLayoutId id="2147484263" r:id="rId26"/>
    <p:sldLayoutId id="2147484767" r:id="rId27"/>
  </p:sldLayoutIdLs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192013-AE6D-4E50-A345-006A69C29951}"/>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95BF8A6-1D0A-4635-A256-7CDC4D42F1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31E76D-585E-4771-B60A-8BC8198A53DD}"/>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99D72C6-1288-4B95-85A0-2F56EA0CE8E4}"/>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icrosoft Confidential</a:t>
            </a:r>
          </a:p>
        </p:txBody>
      </p:sp>
      <p:sp>
        <p:nvSpPr>
          <p:cNvPr id="6" name="Slide Number Placeholder 5">
            <a:extLst>
              <a:ext uri="{FF2B5EF4-FFF2-40B4-BE49-F238E27FC236}">
                <a16:creationId xmlns:a16="http://schemas.microsoft.com/office/drawing/2014/main" id="{89414A34-EBDD-4B96-BDC5-29F9072BBC36}"/>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C534D7-898C-4D07-9BFD-8F94EE1CFE1F}" type="slidenum">
              <a:rPr lang="en-US" smtClean="0"/>
              <a:t>‹#›</a:t>
            </a:fld>
            <a:endParaRPr lang="en-US"/>
          </a:p>
        </p:txBody>
      </p:sp>
    </p:spTree>
    <p:extLst>
      <p:ext uri="{BB962C8B-B14F-4D97-AF65-F5344CB8AC3E}">
        <p14:creationId xmlns:p14="http://schemas.microsoft.com/office/powerpoint/2010/main" val="3771627917"/>
      </p:ext>
    </p:extLst>
  </p:cSld>
  <p:clrMap bg1="lt1" tx1="dk1" bg2="lt2" tx2="dk2" accent1="accent1" accent2="accent2" accent3="accent3" accent4="accent4" accent5="accent5" accent6="accent6" hlink="hlink" folHlink="folHlink"/>
  <p:sldLayoutIdLst>
    <p:sldLayoutId id="2147484979" r:id="rId1"/>
    <p:sldLayoutId id="2147484980" r:id="rId2"/>
    <p:sldLayoutId id="2147484981" r:id="rId3"/>
    <p:sldLayoutId id="2147484982" r:id="rId4"/>
    <p:sldLayoutId id="2147484983" r:id="rId5"/>
    <p:sldLayoutId id="2147484984" r:id="rId6"/>
    <p:sldLayoutId id="2147484985" r:id="rId7"/>
    <p:sldLayoutId id="2147484986" r:id="rId8"/>
    <p:sldLayoutId id="2147484987" r:id="rId9"/>
    <p:sldLayoutId id="2147484988" r:id="rId10"/>
    <p:sldLayoutId id="2147484989" r:id="rId11"/>
    <p:sldLayoutId id="2147484990" r:id="rId12"/>
  </p:sldLayoutIdLst>
  <p:hf sldNum="0" hdr="0" dt="0"/>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50" y="228602"/>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 name="Straight Connector 4"/>
          <p:cNvCxnSpPr/>
          <p:nvPr/>
        </p:nvCxnSpPr>
        <p:spPr>
          <a:xfrm>
            <a:off x="1" y="38100"/>
            <a:ext cx="12192000" cy="0"/>
          </a:xfrm>
          <a:prstGeom prst="line">
            <a:avLst/>
          </a:prstGeom>
          <a:ln w="76200">
            <a:solidFill>
              <a:srgbClr val="7FB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593465"/>
      </p:ext>
    </p:extLst>
  </p:cSld>
  <p:clrMap bg1="lt1" tx1="dk1" bg2="lt2" tx2="dk2" accent1="accent1" accent2="accent2" accent3="accent3" accent4="accent4" accent5="accent5" accent6="accent6" hlink="hlink" folHlink="folHlink"/>
  <p:sldLayoutIdLst>
    <p:sldLayoutId id="2147484992" r:id="rId1"/>
    <p:sldLayoutId id="2147484993" r:id="rId2"/>
    <p:sldLayoutId id="2147484994" r:id="rId3"/>
    <p:sldLayoutId id="2147484995" r:id="rId4"/>
    <p:sldLayoutId id="2147484996" r:id="rId5"/>
    <p:sldLayoutId id="2147484997" r:id="rId6"/>
    <p:sldLayoutId id="2147484998" r:id="rId7"/>
  </p:sldLayoutIdLst>
  <p:transition>
    <p:fade/>
  </p:transition>
  <p:txStyles>
    <p:titleStyle>
      <a:lvl1pPr algn="l" defTabSz="914188" rtl="0" eaLnBrk="1" latinLnBrk="0" hangingPunct="1">
        <a:lnSpc>
          <a:spcPct val="90000"/>
        </a:lnSpc>
        <a:spcBef>
          <a:spcPct val="0"/>
        </a:spcBef>
        <a:buNone/>
        <a:defRPr lang="en-US" sz="5399" b="0" kern="1200" cap="none" spc="-100" baseline="0" dirty="0" smtClean="0">
          <a:ln w="3175">
            <a:noFill/>
          </a:ln>
          <a:solidFill>
            <a:schemeClr val="tx1">
              <a:lumMod val="65000"/>
              <a:lumOff val="35000"/>
            </a:schemeClr>
          </a:solidFill>
          <a:effectLst/>
          <a:latin typeface="Segoe UI Light" pitchFamily="34" charset="0"/>
          <a:ea typeface="+mn-ea"/>
          <a:cs typeface="Arial" charset="0"/>
        </a:defRPr>
      </a:lvl1pPr>
    </p:titleStyle>
    <p:bodyStyle>
      <a:lvl1pPr marL="346009" indent="-346009" algn="l" defTabSz="914188" rtl="0" eaLnBrk="1" latinLnBrk="0" hangingPunct="1">
        <a:lnSpc>
          <a:spcPct val="90000"/>
        </a:lnSpc>
        <a:spcBef>
          <a:spcPct val="20000"/>
        </a:spcBef>
        <a:buSzPct val="90000"/>
        <a:buFont typeface="Wingdings" pitchFamily="2" charset="2"/>
        <a:buChar char="§"/>
        <a:defRPr sz="3200" kern="1200">
          <a:solidFill>
            <a:schemeClr val="tx1">
              <a:lumMod val="65000"/>
              <a:lumOff val="35000"/>
            </a:schemeClr>
          </a:solidFill>
          <a:latin typeface="+mn-lt"/>
          <a:ea typeface="+mn-ea"/>
          <a:cs typeface="+mn-cs"/>
        </a:defRPr>
      </a:lvl1pPr>
      <a:lvl2pPr marL="630117" indent="-284109" algn="l" defTabSz="914188" rtl="0" eaLnBrk="1" latinLnBrk="0" hangingPunct="1">
        <a:lnSpc>
          <a:spcPct val="90000"/>
        </a:lnSpc>
        <a:spcBef>
          <a:spcPct val="20000"/>
        </a:spcBef>
        <a:buSzPct val="80000"/>
        <a:buFont typeface="Wingdings" pitchFamily="2" charset="2"/>
        <a:buChar char="§"/>
        <a:tabLst>
          <a:tab pos="630117" algn="l"/>
        </a:tabLst>
        <a:defRPr sz="2800" kern="1200">
          <a:solidFill>
            <a:schemeClr val="tx1">
              <a:lumMod val="65000"/>
              <a:lumOff val="35000"/>
            </a:schemeClr>
          </a:solidFill>
          <a:latin typeface="+mn-lt"/>
          <a:ea typeface="+mn-ea"/>
          <a:cs typeface="+mn-cs"/>
        </a:defRPr>
      </a:lvl2pPr>
      <a:lvl3pPr marL="914225" indent="-284109" algn="l" defTabSz="914188" rtl="0" eaLnBrk="1" latinLnBrk="0" hangingPunct="1">
        <a:lnSpc>
          <a:spcPct val="90000"/>
        </a:lnSpc>
        <a:spcBef>
          <a:spcPct val="20000"/>
        </a:spcBef>
        <a:buSzPct val="90000"/>
        <a:buFont typeface="Arial" pitchFamily="34" charset="0"/>
        <a:buChar char="•"/>
        <a:defRPr sz="2400" kern="1200">
          <a:solidFill>
            <a:schemeClr val="tx1">
              <a:lumMod val="65000"/>
              <a:lumOff val="35000"/>
            </a:schemeClr>
          </a:solidFill>
          <a:latin typeface="+mn-lt"/>
          <a:ea typeface="+mn-ea"/>
          <a:cs typeface="+mn-cs"/>
        </a:defRPr>
      </a:lvl3pPr>
      <a:lvl4pPr marL="1482440" indent="-223795" algn="l" defTabSz="914188" rtl="0" eaLnBrk="1" latinLnBrk="0" hangingPunct="1">
        <a:lnSpc>
          <a:spcPct val="90000"/>
        </a:lnSpc>
        <a:spcBef>
          <a:spcPct val="20000"/>
        </a:spcBef>
        <a:buSzPct val="90000"/>
        <a:buFont typeface="Arial" pitchFamily="34" charset="0"/>
        <a:buChar char="•"/>
        <a:tabLst>
          <a:tab pos="914225" algn="l"/>
        </a:tabLst>
        <a:defRPr sz="2000" kern="1200">
          <a:solidFill>
            <a:schemeClr val="tx1">
              <a:lumMod val="65000"/>
              <a:lumOff val="35000"/>
            </a:schemeClr>
          </a:solidFill>
          <a:latin typeface="+mn-lt"/>
          <a:ea typeface="+mn-ea"/>
          <a:cs typeface="+mn-cs"/>
        </a:defRPr>
      </a:lvl4pPr>
      <a:lvl5pPr marL="1712584" indent="-230144" algn="l" defTabSz="914188" rtl="0" eaLnBrk="1" latinLnBrk="0" hangingPunct="1">
        <a:lnSpc>
          <a:spcPct val="90000"/>
        </a:lnSpc>
        <a:spcBef>
          <a:spcPct val="20000"/>
        </a:spcBef>
        <a:buSzPct val="90000"/>
        <a:buFont typeface="Arial" pitchFamily="34" charset="0"/>
        <a:buChar char="•"/>
        <a:defRPr sz="2000" kern="1200">
          <a:solidFill>
            <a:schemeClr val="tx1">
              <a:lumMod val="65000"/>
              <a:lumOff val="35000"/>
            </a:schemeClr>
          </a:soli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998368392"/>
      </p:ext>
    </p:extLst>
  </p:cSld>
  <p:clrMap bg1="lt1" tx1="dk1" bg2="lt2" tx2="dk2" accent1="accent1" accent2="accent2" accent3="accent3" accent4="accent4" accent5="accent5" accent6="accent6" hlink="hlink" folHlink="folHlink"/>
  <p:sldLayoutIdLst>
    <p:sldLayoutId id="2147484771" r:id="rId1"/>
    <p:sldLayoutId id="2147484772" r:id="rId2"/>
    <p:sldLayoutId id="2147484773" r:id="rId3"/>
    <p:sldLayoutId id="2147484774" r:id="rId4"/>
    <p:sldLayoutId id="2147484775" r:id="rId5"/>
    <p:sldLayoutId id="2147484776" r:id="rId6"/>
    <p:sldLayoutId id="2147484777" r:id="rId7"/>
    <p:sldLayoutId id="2147484778" r:id="rId8"/>
    <p:sldLayoutId id="2147484779" r:id="rId9"/>
    <p:sldLayoutId id="2147484780" r:id="rId10"/>
    <p:sldLayoutId id="2147484781" r:id="rId11"/>
    <p:sldLayoutId id="2147484782" r:id="rId12"/>
    <p:sldLayoutId id="2147484783" r:id="rId13"/>
    <p:sldLayoutId id="2147484784" r:id="rId14"/>
    <p:sldLayoutId id="2147484785" r:id="rId15"/>
    <p:sldLayoutId id="2147484786" r:id="rId16"/>
    <p:sldLayoutId id="2147484787" r:id="rId17"/>
    <p:sldLayoutId id="2147484788" r:id="rId18"/>
  </p:sldLayoutIdLs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079"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40" y="1189179"/>
            <a:ext cx="11653523" cy="20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p:txBody>
      </p:sp>
      <p:sp>
        <p:nvSpPr>
          <p:cNvPr id="5" name="Slide Number Placeholder 4"/>
          <p:cNvSpPr>
            <a:spLocks noGrp="1"/>
          </p:cNvSpPr>
          <p:nvPr>
            <p:ph type="sldNum" sz="quarter" idx="4"/>
          </p:nvPr>
        </p:nvSpPr>
        <p:spPr>
          <a:xfrm>
            <a:off x="11367166" y="6437742"/>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505" fontAlgn="base">
              <a:spcBef>
                <a:spcPct val="0"/>
              </a:spcBef>
              <a:spcAft>
                <a:spcPct val="0"/>
              </a:spcAft>
            </a:pPr>
            <a:fld id="{83758903-653A-7442-ACA2-36E6579F0BEB}" type="slidenum">
              <a:rPr lang="en-US" smtClean="0">
                <a:ea typeface="ＭＳ Ｐゴシック" charset="0"/>
              </a:rPr>
              <a:pPr defTabSz="913505" fontAlgn="base">
                <a:spcBef>
                  <a:spcPct val="0"/>
                </a:spcBef>
                <a:spcAft>
                  <a:spcPct val="0"/>
                </a:spcAft>
              </a:pPr>
              <a:t>‹#›</a:t>
            </a:fld>
            <a:endParaRPr lang="en-US" dirty="0">
              <a:ea typeface="ＭＳ Ｐゴシック" charset="0"/>
            </a:endParaRPr>
          </a:p>
        </p:txBody>
      </p:sp>
    </p:spTree>
    <p:extLst>
      <p:ext uri="{BB962C8B-B14F-4D97-AF65-F5344CB8AC3E}">
        <p14:creationId xmlns:p14="http://schemas.microsoft.com/office/powerpoint/2010/main" val="3987631413"/>
      </p:ext>
    </p:extLst>
  </p:cSld>
  <p:clrMap bg1="lt1" tx1="dk1" bg2="lt2" tx2="dk2" accent1="accent1" accent2="accent2" accent3="accent3" accent4="accent4" accent5="accent5" accent6="accent6" hlink="hlink" folHlink="folHlink"/>
  <p:sldLayoutIdLst>
    <p:sldLayoutId id="2147484809" r:id="rId1"/>
    <p:sldLayoutId id="2147484810" r:id="rId2"/>
    <p:sldLayoutId id="2147484811" r:id="rId3"/>
    <p:sldLayoutId id="2147484812" r:id="rId4"/>
    <p:sldLayoutId id="2147484813" r:id="rId5"/>
    <p:sldLayoutId id="2147484814" r:id="rId6"/>
    <p:sldLayoutId id="2147484815" r:id="rId7"/>
    <p:sldLayoutId id="2147484816" r:id="rId8"/>
    <p:sldLayoutId id="2147484817" r:id="rId9"/>
    <p:sldLayoutId id="2147484818" r:id="rId10"/>
    <p:sldLayoutId id="2147484819" r:id="rId11"/>
    <p:sldLayoutId id="2147484820" r:id="rId12"/>
    <p:sldLayoutId id="2147484821" r:id="rId13"/>
    <p:sldLayoutId id="2147484822" r:id="rId14"/>
    <p:sldLayoutId id="2147484823" r:id="rId15"/>
    <p:sldLayoutId id="2147484824" r:id="rId16"/>
  </p:sldLayoutIdLst>
  <p:transition>
    <p:fade/>
  </p:transition>
  <p:hf hdr="0" dt="0"/>
  <p:txStyles>
    <p:titleStyle>
      <a:lvl1pPr algn="l" defTabSz="913505" rtl="0" eaLnBrk="0" fontAlgn="base" hangingPunct="0">
        <a:lnSpc>
          <a:spcPct val="90000"/>
        </a:lnSpc>
        <a:spcBef>
          <a:spcPct val="0"/>
        </a:spcBef>
        <a:spcAft>
          <a:spcPct val="0"/>
        </a:spcAft>
        <a:defRPr lang="en-US" sz="5400" kern="1200" spc="-100" dirty="0">
          <a:ln w="3175">
            <a:noFill/>
          </a:ln>
          <a:solidFill>
            <a:schemeClr val="tx2"/>
          </a:solidFill>
          <a:latin typeface="+mj-lt"/>
          <a:ea typeface="ＭＳ Ｐゴシック" charset="0"/>
          <a:cs typeface="Segoe UI" pitchFamily="34" charset="0"/>
        </a:defRPr>
      </a:lvl1pPr>
      <a:lvl2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0" indent="0" algn="l" defTabSz="913505" rtl="0" eaLnBrk="0" fontAlgn="base" hangingPunct="0">
        <a:lnSpc>
          <a:spcPct val="90000"/>
        </a:lnSpc>
        <a:spcBef>
          <a:spcPct val="20000"/>
        </a:spcBef>
        <a:spcAft>
          <a:spcPct val="0"/>
        </a:spcAft>
        <a:buSzPct val="90000"/>
        <a:buFont typeface="Arial" charset="0"/>
        <a:buNone/>
        <a:defRPr sz="3921" kern="1200">
          <a:solidFill>
            <a:schemeClr val="tx2"/>
          </a:solidFill>
          <a:latin typeface="+mj-lt"/>
          <a:ea typeface="ＭＳ Ｐゴシック" charset="0"/>
          <a:cs typeface="ＭＳ Ｐゴシック" charset="0"/>
        </a:defRPr>
      </a:lvl1pPr>
      <a:lvl2pPr marL="0" indent="0" algn="l" defTabSz="913505" rtl="0" eaLnBrk="0" fontAlgn="base" hangingPunct="0">
        <a:lnSpc>
          <a:spcPct val="90000"/>
        </a:lnSpc>
        <a:spcBef>
          <a:spcPct val="20000"/>
        </a:spcBef>
        <a:spcAft>
          <a:spcPct val="0"/>
        </a:spcAft>
        <a:buSzPct val="90000"/>
        <a:buFont typeface="Arial" charset="0"/>
        <a:buNone/>
        <a:defRPr sz="2353" kern="1200">
          <a:solidFill>
            <a:schemeClr val="tx2"/>
          </a:solidFill>
          <a:latin typeface="+mn-lt"/>
          <a:ea typeface="ＭＳ Ｐゴシック" charset="0"/>
          <a:cs typeface="+mn-cs"/>
        </a:defRPr>
      </a:lvl2pPr>
      <a:lvl3pPr marL="784338" indent="-224097" algn="l" defTabSz="913505"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4121028369"/>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 id="2147484832" r:id="rId7"/>
    <p:sldLayoutId id="2147484833" r:id="rId8"/>
    <p:sldLayoutId id="2147484834" r:id="rId9"/>
    <p:sldLayoutId id="2147484835" r:id="rId10"/>
    <p:sldLayoutId id="2147484836" r:id="rId11"/>
    <p:sldLayoutId id="2147484837" r:id="rId12"/>
    <p:sldLayoutId id="2147484838" r:id="rId13"/>
    <p:sldLayoutId id="2147484839" r:id="rId14"/>
    <p:sldLayoutId id="2147484840" r:id="rId15"/>
    <p:sldLayoutId id="2147484841" r:id="rId16"/>
    <p:sldLayoutId id="2147484842" r:id="rId17"/>
    <p:sldLayoutId id="2147484843" r:id="rId18"/>
    <p:sldLayoutId id="2147484844" r:id="rId19"/>
    <p:sldLayoutId id="2147484845" r:id="rId20"/>
    <p:sldLayoutId id="2147484846" r:id="rId21"/>
    <p:sldLayoutId id="2147484847" r:id="rId22"/>
    <p:sldLayoutId id="214748484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6702466"/>
      </p:ext>
    </p:extLst>
  </p:cSld>
  <p:clrMap bg1="lt1" tx1="dk1" bg2="lt2" tx2="dk2" accent1="accent1" accent2="accent2" accent3="accent3" accent4="accent4" accent5="accent5" accent6="accent6" hlink="hlink" folHlink="folHlink"/>
  <p:sldLayoutIdLst>
    <p:sldLayoutId id="2147484868" r:id="rId1"/>
    <p:sldLayoutId id="2147484869" r:id="rId2"/>
    <p:sldLayoutId id="2147484870" r:id="rId3"/>
    <p:sldLayoutId id="2147484871" r:id="rId4"/>
    <p:sldLayoutId id="2147484872" r:id="rId5"/>
    <p:sldLayoutId id="2147484873" r:id="rId6"/>
    <p:sldLayoutId id="2147484874" r:id="rId7"/>
    <p:sldLayoutId id="2147484875" r:id="rId8"/>
    <p:sldLayoutId id="2147484876" r:id="rId9"/>
    <p:sldLayoutId id="2147484877" r:id="rId10"/>
    <p:sldLayoutId id="2147484878" r:id="rId11"/>
    <p:sldLayoutId id="2147484879" r:id="rId12"/>
    <p:sldLayoutId id="2147484880" r:id="rId13"/>
    <p:sldLayoutId id="2147484881" r:id="rId14"/>
    <p:sldLayoutId id="2147484882" r:id="rId15"/>
    <p:sldLayoutId id="2147484883" r:id="rId16"/>
    <p:sldLayoutId id="2147484884" r:id="rId17"/>
    <p:sldLayoutId id="2147484885" r:id="rId18"/>
    <p:sldLayoutId id="2147484886" r:id="rId19"/>
    <p:sldLayoutId id="2147484887" r:id="rId20"/>
    <p:sldLayoutId id="2147484888" r:id="rId21"/>
    <p:sldLayoutId id="2147484889" r:id="rId22"/>
    <p:sldLayoutId id="2147484890" r:id="rId23"/>
    <p:sldLayoutId id="2147484891" r:id="rId24"/>
    <p:sldLayoutId id="2147484892" r:id="rId25"/>
    <p:sldLayoutId id="2147484893" r:id="rId26"/>
    <p:sldLayoutId id="2147484894" r:id="rId27"/>
    <p:sldLayoutId id="2147484895" r:id="rId28"/>
    <p:sldLayoutId id="2147484896" r:id="rId29"/>
    <p:sldLayoutId id="2147484897" r:id="rId30"/>
    <p:sldLayoutId id="2147484898" r:id="rId31"/>
    <p:sldLayoutId id="2147484899" r:id="rId32"/>
    <p:sldLayoutId id="2147484900" r:id="rId33"/>
    <p:sldLayoutId id="2147484901" r:id="rId34"/>
    <p:sldLayoutId id="2147484902" r:id="rId35"/>
    <p:sldLayoutId id="2147484903" r:id="rId36"/>
    <p:sldLayoutId id="2147484904" r:id="rId37"/>
    <p:sldLayoutId id="2147484905" r:id="rId38"/>
    <p:sldLayoutId id="2147484906" r:id="rId39"/>
    <p:sldLayoutId id="2147484907" r:id="rId40"/>
    <p:sldLayoutId id="2147484908" r:id="rId41"/>
    <p:sldLayoutId id="2147484909" r:id="rId42"/>
    <p:sldLayoutId id="2147484910" r:id="rId43"/>
    <p:sldLayoutId id="2147484911" r:id="rId44"/>
  </p:sldLayoutIdLst>
  <p:transition>
    <p:fade/>
  </p:transition>
  <p:hf sldNum="0" hdr="0" dt="0"/>
  <p:txStyles>
    <p:titleStyle>
      <a:lvl1pPr algn="l" defTabSz="914192" rtl="0" eaLnBrk="1" latinLnBrk="0" hangingPunct="1">
        <a:lnSpc>
          <a:spcPct val="90000"/>
        </a:lnSpc>
        <a:spcBef>
          <a:spcPct val="0"/>
        </a:spcBef>
        <a:buNone/>
        <a:defRPr lang="en-US" sz="5293" b="0" kern="1200" cap="none" spc="-100" baseline="0" dirty="0" smtClean="0">
          <a:ln w="3175">
            <a:noFill/>
          </a:ln>
          <a:solidFill>
            <a:schemeClr val="accent3"/>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1027"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505" fontAlgn="base">
              <a:spcBef>
                <a:spcPct val="0"/>
              </a:spcBef>
              <a:spcAft>
                <a:spcPct val="0"/>
              </a:spcAft>
            </a:pPr>
            <a:fld id="{83758903-653A-7442-ACA2-36E6579F0BEB}" type="slidenum">
              <a:rPr lang="en-US" smtClean="0">
                <a:ea typeface="ＭＳ Ｐゴシック" charset="0"/>
              </a:rPr>
              <a:pPr defTabSz="913505"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3595078097"/>
      </p:ext>
    </p:extLst>
  </p:cSld>
  <p:clrMap bg1="lt1" tx1="dk1" bg2="lt2" tx2="dk2" accent1="accent1" accent2="accent2" accent3="accent3" accent4="accent4" accent5="accent5" accent6="accent6" hlink="hlink" folHlink="folHlink"/>
  <p:sldLayoutIdLst>
    <p:sldLayoutId id="2147484913" r:id="rId1"/>
    <p:sldLayoutId id="2147484914" r:id="rId2"/>
    <p:sldLayoutId id="2147484915" r:id="rId3"/>
    <p:sldLayoutId id="2147484916" r:id="rId4"/>
    <p:sldLayoutId id="2147484917" r:id="rId5"/>
    <p:sldLayoutId id="2147484918" r:id="rId6"/>
    <p:sldLayoutId id="2147484919" r:id="rId7"/>
    <p:sldLayoutId id="2147484920" r:id="rId8"/>
    <p:sldLayoutId id="2147484921" r:id="rId9"/>
    <p:sldLayoutId id="2147484922" r:id="rId10"/>
    <p:sldLayoutId id="2147484923" r:id="rId11"/>
    <p:sldLayoutId id="2147484924" r:id="rId12"/>
    <p:sldLayoutId id="2147484925" r:id="rId13"/>
    <p:sldLayoutId id="2147484926" r:id="rId14"/>
    <p:sldLayoutId id="2147484927" r:id="rId15"/>
    <p:sldLayoutId id="2147484928" r:id="rId16"/>
    <p:sldLayoutId id="2147484929" r:id="rId17"/>
  </p:sldLayoutIdLst>
  <p:transition>
    <p:fade/>
  </p:transition>
  <p:hf hdr="0" dt="0"/>
  <p:txStyles>
    <p:titleStyle>
      <a:lvl1pPr algn="l" defTabSz="913505" rtl="0" eaLnBrk="1" fontAlgn="base" hangingPunct="1">
        <a:lnSpc>
          <a:spcPct val="90000"/>
        </a:lnSpc>
        <a:spcBef>
          <a:spcPct val="0"/>
        </a:spcBef>
        <a:spcAft>
          <a:spcPct val="0"/>
        </a:spcAft>
        <a:defRPr lang="en-US" sz="5400" kern="1200" spc="-100" dirty="0">
          <a:ln w="3175">
            <a:noFill/>
          </a:ln>
          <a:solidFill>
            <a:schemeClr val="tx2"/>
          </a:solidFill>
          <a:latin typeface="+mj-lt"/>
          <a:ea typeface="ＭＳ Ｐゴシック" charset="0"/>
          <a:cs typeface="Segoe UI" pitchFamily="34" charset="0"/>
        </a:defRPr>
      </a:lvl1pPr>
      <a:lvl2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eaLnBrk="1" fontAlgn="base" hangingPunct="1">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0" indent="0" algn="l" defTabSz="913505" rtl="0" eaLnBrk="1" fontAlgn="base" hangingPunct="1">
        <a:lnSpc>
          <a:spcPct val="90000"/>
        </a:lnSpc>
        <a:spcBef>
          <a:spcPct val="20000"/>
        </a:spcBef>
        <a:spcAft>
          <a:spcPct val="0"/>
        </a:spcAft>
        <a:buSzPct val="90000"/>
        <a:buFont typeface="Arial" charset="0"/>
        <a:buNone/>
        <a:defRPr sz="3921" kern="1200">
          <a:solidFill>
            <a:schemeClr val="tx2"/>
          </a:solidFill>
          <a:latin typeface="+mj-lt"/>
          <a:ea typeface="ＭＳ Ｐゴシック" charset="0"/>
          <a:cs typeface="ＭＳ Ｐゴシック" charset="0"/>
        </a:defRPr>
      </a:lvl1pPr>
      <a:lvl2pPr marL="0" indent="0" algn="l" defTabSz="913505" rtl="0" eaLnBrk="1" fontAlgn="base" hangingPunct="1">
        <a:lnSpc>
          <a:spcPct val="90000"/>
        </a:lnSpc>
        <a:spcBef>
          <a:spcPct val="20000"/>
        </a:spcBef>
        <a:spcAft>
          <a:spcPct val="0"/>
        </a:spcAft>
        <a:buSzPct val="90000"/>
        <a:buFont typeface="Arial" charset="0"/>
        <a:buNone/>
        <a:defRPr sz="2353" kern="1200">
          <a:solidFill>
            <a:schemeClr val="tx2"/>
          </a:solidFill>
          <a:latin typeface="+mn-lt"/>
          <a:ea typeface="ＭＳ Ｐゴシック" charset="0"/>
          <a:cs typeface="+mn-cs"/>
        </a:defRPr>
      </a:lvl2pPr>
      <a:lvl3pPr marL="784338" indent="-224097" algn="l" defTabSz="913505" rtl="0" eaLnBrk="1" fontAlgn="base" hangingPunct="1">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31ECEC-17E1-4593-969B-5B2AC57EC8A0}" type="datetimeFigureOut">
              <a:rPr lang="en-US" smtClean="0">
                <a:solidFill>
                  <a:prstClr val="black">
                    <a:tint val="75000"/>
                  </a:prstClr>
                </a:solidFill>
              </a:rPr>
              <a:pPr/>
              <a:t>7/1/2019</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491343-0FD2-4011-9ADD-A174C50DA96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5465924"/>
      </p:ext>
    </p:extLst>
  </p:cSld>
  <p:clrMap bg1="lt1" tx1="dk1" bg2="lt2" tx2="dk2" accent1="accent1" accent2="accent2" accent3="accent3" accent4="accent4" accent5="accent5" accent6="accent6" hlink="hlink" folHlink="folHlink"/>
  <p:sldLayoutIdLst>
    <p:sldLayoutId id="2147484931" r:id="rId1"/>
    <p:sldLayoutId id="2147484932" r:id="rId2"/>
    <p:sldLayoutId id="2147484933" r:id="rId3"/>
    <p:sldLayoutId id="2147484934" r:id="rId4"/>
    <p:sldLayoutId id="2147484935" r:id="rId5"/>
    <p:sldLayoutId id="2147484936" r:id="rId6"/>
    <p:sldLayoutId id="2147484937" r:id="rId7"/>
    <p:sldLayoutId id="2147484938" r:id="rId8"/>
    <p:sldLayoutId id="2147484939" r:id="rId9"/>
    <p:sldLayoutId id="2147484940" r:id="rId10"/>
    <p:sldLayoutId id="214748494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1027" name="Text Placeholder 3"/>
          <p:cNvSpPr>
            <a:spLocks noGrp="1"/>
          </p:cNvSpPr>
          <p:nvPr>
            <p:ph type="body" idx="1"/>
          </p:nvPr>
        </p:nvSpPr>
        <p:spPr bwMode="auto">
          <a:xfrm>
            <a:off x="269239" y="1189177"/>
            <a:ext cx="11653523"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dirty="0"/>
              <a:t>Click to edit Master text styles</a:t>
            </a:r>
          </a:p>
          <a:p>
            <a:pPr lvl="1"/>
            <a:r>
              <a:rPr lang="en-US" dirty="0"/>
              <a:t>Second leve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505" fontAlgn="base">
              <a:spcBef>
                <a:spcPct val="0"/>
              </a:spcBef>
              <a:spcAft>
                <a:spcPct val="0"/>
              </a:spcAft>
            </a:pPr>
            <a:fld id="{83758903-653A-7442-ACA2-36E6579F0BEB}" type="slidenum">
              <a:rPr lang="en-US" smtClean="0">
                <a:ea typeface="ＭＳ Ｐゴシック" charset="0"/>
              </a:rPr>
              <a:pPr defTabSz="913505" fontAlgn="base">
                <a:spcBef>
                  <a:spcPct val="0"/>
                </a:spcBef>
                <a:spcAft>
                  <a:spcPct val="0"/>
                </a:spcAft>
              </a:pPr>
              <a:t>‹#›</a:t>
            </a:fld>
            <a:endParaRPr lang="en-US" dirty="0">
              <a:ea typeface="ＭＳ Ｐゴシック" charset="0"/>
            </a:endParaRPr>
          </a:p>
        </p:txBody>
      </p:sp>
    </p:spTree>
    <p:extLst>
      <p:ext uri="{BB962C8B-B14F-4D97-AF65-F5344CB8AC3E}">
        <p14:creationId xmlns:p14="http://schemas.microsoft.com/office/powerpoint/2010/main" val="3820012234"/>
      </p:ext>
    </p:extLst>
  </p:cSld>
  <p:clrMap bg1="lt1" tx1="dk1" bg2="lt2" tx2="dk2" accent1="accent1" accent2="accent2" accent3="accent3" accent4="accent4" accent5="accent5" accent6="accent6" hlink="hlink" folHlink="folHlink"/>
  <p:sldLayoutIdLst>
    <p:sldLayoutId id="2147484943" r:id="rId1"/>
    <p:sldLayoutId id="2147484944" r:id="rId2"/>
    <p:sldLayoutId id="2147484945" r:id="rId3"/>
    <p:sldLayoutId id="2147484946" r:id="rId4"/>
    <p:sldLayoutId id="2147484947" r:id="rId5"/>
    <p:sldLayoutId id="2147484948" r:id="rId6"/>
    <p:sldLayoutId id="2147484949" r:id="rId7"/>
    <p:sldLayoutId id="2147484950" r:id="rId8"/>
    <p:sldLayoutId id="2147484951" r:id="rId9"/>
    <p:sldLayoutId id="2147484952" r:id="rId10"/>
    <p:sldLayoutId id="2147484953" r:id="rId11"/>
    <p:sldLayoutId id="2147484954" r:id="rId12"/>
    <p:sldLayoutId id="2147484955" r:id="rId13"/>
    <p:sldLayoutId id="2147484956" r:id="rId14"/>
    <p:sldLayoutId id="2147484957" r:id="rId15"/>
    <p:sldLayoutId id="2147484958" r:id="rId16"/>
  </p:sldLayoutIdLst>
  <p:transition>
    <p:fade/>
  </p:transition>
  <p:hf hdr="0" dt="0"/>
  <p:txStyles>
    <p:titleStyle>
      <a:lvl1pPr algn="l" defTabSz="913505" rtl="0" eaLnBrk="0" fontAlgn="base" hangingPunct="0">
        <a:lnSpc>
          <a:spcPct val="90000"/>
        </a:lnSpc>
        <a:spcBef>
          <a:spcPct val="0"/>
        </a:spcBef>
        <a:spcAft>
          <a:spcPct val="0"/>
        </a:spcAft>
        <a:defRPr lang="en-US" sz="5400" kern="1200" spc="-100" dirty="0">
          <a:ln w="3175">
            <a:noFill/>
          </a:ln>
          <a:solidFill>
            <a:schemeClr val="tx2"/>
          </a:solidFill>
          <a:latin typeface="+mj-lt"/>
          <a:ea typeface="ＭＳ Ｐゴシック" charset="0"/>
          <a:cs typeface="Segoe UI" pitchFamily="34" charset="0"/>
        </a:defRPr>
      </a:lvl1pPr>
      <a:lvl2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0" indent="0" algn="l" defTabSz="913505" rtl="0" eaLnBrk="0" fontAlgn="base" hangingPunct="0">
        <a:lnSpc>
          <a:spcPct val="90000"/>
        </a:lnSpc>
        <a:spcBef>
          <a:spcPct val="20000"/>
        </a:spcBef>
        <a:spcAft>
          <a:spcPct val="0"/>
        </a:spcAft>
        <a:buSzPct val="90000"/>
        <a:buFont typeface="Arial" charset="0"/>
        <a:buNone/>
        <a:defRPr sz="3921" kern="1200">
          <a:solidFill>
            <a:schemeClr val="tx2"/>
          </a:solidFill>
          <a:latin typeface="+mj-lt"/>
          <a:ea typeface="ＭＳ Ｐゴシック" charset="0"/>
          <a:cs typeface="ＭＳ Ｐゴシック" charset="0"/>
        </a:defRPr>
      </a:lvl1pPr>
      <a:lvl2pPr marL="0" indent="0" algn="l" defTabSz="913505" rtl="0" eaLnBrk="0" fontAlgn="base" hangingPunct="0">
        <a:lnSpc>
          <a:spcPct val="90000"/>
        </a:lnSpc>
        <a:spcBef>
          <a:spcPct val="20000"/>
        </a:spcBef>
        <a:spcAft>
          <a:spcPct val="0"/>
        </a:spcAft>
        <a:buSzPct val="90000"/>
        <a:buFont typeface="Arial" charset="0"/>
        <a:buNone/>
        <a:defRPr sz="2353" kern="1200">
          <a:solidFill>
            <a:schemeClr val="tx2"/>
          </a:solidFill>
          <a:latin typeface="+mn-lt"/>
          <a:ea typeface="ＭＳ Ｐゴシック" charset="0"/>
          <a:cs typeface="+mn-cs"/>
        </a:defRPr>
      </a:lvl2pPr>
      <a:lvl3pPr marL="784338" indent="-224097" algn="l" defTabSz="913505"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CA5AEC-99A1-4903-BE40-E5EC50A681F7}" type="datetimeFigureOut">
              <a:rPr lang="en-ZA" smtClean="0">
                <a:solidFill>
                  <a:prstClr val="black">
                    <a:tint val="75000"/>
                  </a:prstClr>
                </a:solidFill>
              </a:rPr>
              <a:pPr/>
              <a:t>2019/07/01</a:t>
            </a:fld>
            <a:endParaRPr lang="en-ZA">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FEAE49-1362-42F9-A989-0B6F624C7434}"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024705142"/>
      </p:ext>
    </p:extLst>
  </p:cSld>
  <p:clrMap bg1="lt1" tx1="dk1" bg2="lt2" tx2="dk2" accent1="accent1" accent2="accent2" accent3="accent3" accent4="accent4" accent5="accent5" accent6="accent6" hlink="hlink" folHlink="folHlink"/>
  <p:sldLayoutIdLst>
    <p:sldLayoutId id="2147484960" r:id="rId1"/>
    <p:sldLayoutId id="2147484961" r:id="rId2"/>
    <p:sldLayoutId id="2147484962" r:id="rId3"/>
    <p:sldLayoutId id="2147484963" r:id="rId4"/>
    <p:sldLayoutId id="2147484964" r:id="rId5"/>
    <p:sldLayoutId id="2147484965" r:id="rId6"/>
    <p:sldLayoutId id="2147484966" r:id="rId7"/>
    <p:sldLayoutId id="2147484967" r:id="rId8"/>
    <p:sldLayoutId id="2147484968" r:id="rId9"/>
    <p:sldLayoutId id="2147484969" r:id="rId10"/>
    <p:sldLayoutId id="2147484970" r:id="rId11"/>
    <p:sldLayoutId id="2147484971" r:id="rId12"/>
    <p:sldLayoutId id="2147484972" r:id="rId13"/>
    <p:sldLayoutId id="2147484973" r:id="rId14"/>
    <p:sldLayoutId id="2147484974" r:id="rId15"/>
    <p:sldLayoutId id="2147484975" r:id="rId16"/>
    <p:sldLayoutId id="2147484976" r:id="rId17"/>
    <p:sldLayoutId id="2147484977" r:id="rId18"/>
  </p:sldLayoutIdLst>
  <p:txStyles>
    <p:titleStyle>
      <a:lvl1pPr algn="l" defTabSz="91422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2.png"/><Relationship Id="rId4" Type="http://schemas.openxmlformats.org/officeDocument/2006/relationships/image" Target="../media/image4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1.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78.xml"/></Relationships>
</file>

<file path=ppt/slides/_rels/slide1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3.xml"/><Relationship Id="rId1" Type="http://schemas.openxmlformats.org/officeDocument/2006/relationships/slideLayout" Target="../slideLayouts/slideLayout105.xml"/></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127.xml"/><Relationship Id="rId4" Type="http://schemas.microsoft.com/office/2007/relationships/hdphoto" Target="../media/hdphoto2.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2.xml"/></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187.xml"/></Relationships>
</file>

<file path=ppt/slides/_rels/slide1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6.xml"/><Relationship Id="rId1" Type="http://schemas.openxmlformats.org/officeDocument/2006/relationships/slideLayout" Target="../slideLayouts/slideLayout206.xml"/></Relationships>
</file>

<file path=ppt/slides/_rels/slide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13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0.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1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2.png"/><Relationship Id="rId7"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1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1.png"/><Relationship Id="rId9"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8.xml"/><Relationship Id="rId1" Type="http://schemas.openxmlformats.org/officeDocument/2006/relationships/slideLayout" Target="../slideLayouts/slideLayout172.xml"/><Relationship Id="rId5" Type="http://schemas.microsoft.com/office/2007/relationships/hdphoto" Target="../media/hdphoto1.wdp"/><Relationship Id="rId4" Type="http://schemas.openxmlformats.org/officeDocument/2006/relationships/image" Target="../media/image59.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63.jpg"/><Relationship Id="rId5" Type="http://schemas.openxmlformats.org/officeDocument/2006/relationships/image" Target="../media/image62.jpg"/><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picture containing person, yellow construction hat, man working at laptop&#10;&#10;Description automatically generated">
            <a:extLst>
              <a:ext uri="{FF2B5EF4-FFF2-40B4-BE49-F238E27FC236}">
                <a16:creationId xmlns:a16="http://schemas.microsoft.com/office/drawing/2014/main" id="{DAD38E50-A7A0-4A06-8897-5CE06871694A}"/>
              </a:ext>
            </a:extLst>
          </p:cNvPr>
          <p:cNvPicPr>
            <a:picLocks noGrp="1" noChangeAspect="1"/>
          </p:cNvPicPr>
          <p:nvPr>
            <p:ph type="pic" sz="quarter" idx="13"/>
          </p:nvPr>
        </p:nvPicPr>
        <p:blipFill rotWithShape="1">
          <a:blip r:embed="rId3"/>
          <a:srcRect l="4072" t="1371" r="51814" b="-1371"/>
          <a:stretch/>
        </p:blipFill>
        <p:spPr>
          <a:xfrm>
            <a:off x="5908673" y="7738"/>
            <a:ext cx="2093913" cy="4746625"/>
          </a:xfrm>
        </p:spPr>
      </p:pic>
      <p:pic>
        <p:nvPicPr>
          <p:cNvPr id="13" name="Picture Placeholder 12" descr="A group of people in a field&#10;&#10;Description automatically generated">
            <a:extLst>
              <a:ext uri="{FF2B5EF4-FFF2-40B4-BE49-F238E27FC236}">
                <a16:creationId xmlns:a16="http://schemas.microsoft.com/office/drawing/2014/main" id="{316E9926-483A-4148-B014-21B61B844FB8}"/>
              </a:ext>
            </a:extLst>
          </p:cNvPr>
          <p:cNvPicPr>
            <a:picLocks noGrp="1" noChangeAspect="1"/>
          </p:cNvPicPr>
          <p:nvPr>
            <p:ph type="pic" sz="quarter" idx="14"/>
          </p:nvPr>
        </p:nvPicPr>
        <p:blipFill rotWithShape="1">
          <a:blip r:embed="rId4"/>
          <a:srcRect l="37562" r="24876"/>
          <a:stretch/>
        </p:blipFill>
        <p:spPr>
          <a:xfrm>
            <a:off x="8002588" y="0"/>
            <a:ext cx="2093912" cy="5588000"/>
          </a:xfrm>
        </p:spPr>
      </p:pic>
      <p:sp>
        <p:nvSpPr>
          <p:cNvPr id="4" name="Title 3"/>
          <p:cNvSpPr>
            <a:spLocks noGrp="1"/>
          </p:cNvSpPr>
          <p:nvPr>
            <p:ph type="title"/>
          </p:nvPr>
        </p:nvSpPr>
        <p:spPr>
          <a:xfrm>
            <a:off x="588263" y="1192410"/>
            <a:ext cx="4768928" cy="2769989"/>
          </a:xfrm>
        </p:spPr>
        <p:txBody>
          <a:bodyPr/>
          <a:lstStyle/>
          <a:p>
            <a:r>
              <a:rPr lang="en-US" dirty="0">
                <a:solidFill>
                  <a:srgbClr val="000000"/>
                </a:solidFill>
              </a:rPr>
              <a:t>PRIVATE SECURITY INDABA 2019</a:t>
            </a:r>
            <a:br>
              <a:rPr lang="en-US" dirty="0">
                <a:solidFill>
                  <a:srgbClr val="000000"/>
                </a:solidFill>
              </a:rPr>
            </a:br>
            <a:br>
              <a:rPr lang="en-US" dirty="0">
                <a:solidFill>
                  <a:srgbClr val="000000"/>
                </a:solidFill>
              </a:rPr>
            </a:br>
            <a:r>
              <a:rPr lang="en-US" dirty="0">
                <a:solidFill>
                  <a:srgbClr val="000000"/>
                </a:solidFill>
              </a:rPr>
              <a:t>Cybersecurity: </a:t>
            </a:r>
            <a:br>
              <a:rPr lang="en-US" dirty="0">
                <a:solidFill>
                  <a:srgbClr val="000000"/>
                </a:solidFill>
              </a:rPr>
            </a:br>
            <a:r>
              <a:rPr lang="en-US" dirty="0">
                <a:solidFill>
                  <a:srgbClr val="000000"/>
                </a:solidFill>
              </a:rPr>
              <a:t>Future in the Cloud.</a:t>
            </a:r>
            <a:endParaRPr lang="en-US" dirty="0">
              <a:solidFill>
                <a:srgbClr val="FF0000"/>
              </a:solidFill>
            </a:endParaRPr>
          </a:p>
        </p:txBody>
      </p:sp>
      <p:sp>
        <p:nvSpPr>
          <p:cNvPr id="5" name="Text Placeholder 4"/>
          <p:cNvSpPr>
            <a:spLocks noGrp="1"/>
          </p:cNvSpPr>
          <p:nvPr>
            <p:ph type="body" sz="quarter" idx="12"/>
          </p:nvPr>
        </p:nvSpPr>
        <p:spPr>
          <a:xfrm>
            <a:off x="582042" y="3962400"/>
            <a:ext cx="4164583" cy="2369880"/>
          </a:xfrm>
        </p:spPr>
        <p:txBody>
          <a:bodyPr vert="horz" wrap="square" lIns="0" tIns="0" rIns="0" bIns="0" rtlCol="0" anchor="t">
            <a:spAutoFit/>
          </a:bodyPr>
          <a:lstStyle/>
          <a:p>
            <a:endParaRPr lang="en-US" dirty="0">
              <a:solidFill>
                <a:schemeClr val="tx1"/>
              </a:solidFill>
              <a:cs typeface="Segoe UI"/>
            </a:endParaRPr>
          </a:p>
          <a:p>
            <a:endParaRPr lang="en-US" dirty="0">
              <a:solidFill>
                <a:schemeClr val="tx1"/>
              </a:solidFill>
              <a:cs typeface="Segoe UI"/>
            </a:endParaRPr>
          </a:p>
          <a:p>
            <a:r>
              <a:rPr lang="en-US" dirty="0">
                <a:solidFill>
                  <a:schemeClr val="tx1"/>
                </a:solidFill>
                <a:cs typeface="Segoe UI"/>
              </a:rPr>
              <a:t>Siya Madyibi:</a:t>
            </a:r>
          </a:p>
          <a:p>
            <a:r>
              <a:rPr lang="en-US" dirty="0">
                <a:solidFill>
                  <a:schemeClr val="tx1"/>
                </a:solidFill>
                <a:cs typeface="Segoe UI"/>
              </a:rPr>
              <a:t>Director – Corporate, External &amp; Legal Affairs</a:t>
            </a:r>
          </a:p>
          <a:p>
            <a:endParaRPr lang="en-US" dirty="0">
              <a:solidFill>
                <a:schemeClr val="tx1"/>
              </a:solidFill>
            </a:endParaRPr>
          </a:p>
          <a:p>
            <a:r>
              <a:rPr lang="en-US" dirty="0">
                <a:solidFill>
                  <a:schemeClr val="tx1"/>
                </a:solidFill>
                <a:cs typeface="Segoe UI"/>
              </a:rPr>
              <a:t>June 4, 2019</a:t>
            </a:r>
            <a:endParaRPr lang="en-US" dirty="0">
              <a:solidFill>
                <a:schemeClr val="tx1"/>
              </a:solidFill>
            </a:endParaRPr>
          </a:p>
        </p:txBody>
      </p:sp>
      <p:sp>
        <p:nvSpPr>
          <p:cNvPr id="7" name="Rectangle 6">
            <a:extLst>
              <a:ext uri="{FF2B5EF4-FFF2-40B4-BE49-F238E27FC236}">
                <a16:creationId xmlns:a16="http://schemas.microsoft.com/office/drawing/2014/main" id="{98105042-A936-4337-84D0-6B67280560E1}"/>
              </a:ext>
              <a:ext uri="{C183D7F6-B498-43B3-948B-1728B52AA6E4}">
                <adec:decorative xmlns:adec="http://schemas.microsoft.com/office/drawing/2017/decorative" val="1"/>
              </a:ext>
            </a:extLst>
          </p:cNvPr>
          <p:cNvSpPr/>
          <p:nvPr/>
        </p:nvSpPr>
        <p:spPr bwMode="auto">
          <a:xfrm>
            <a:off x="5908674" y="4681537"/>
            <a:ext cx="2093913" cy="1301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Placeholder 22" descr="Men in an office negotiating at conference table with laptop">
            <a:extLst>
              <a:ext uri="{FF2B5EF4-FFF2-40B4-BE49-F238E27FC236}">
                <a16:creationId xmlns:a16="http://schemas.microsoft.com/office/drawing/2014/main" id="{45F150EB-01D8-435A-8D76-EDB202198D23}"/>
              </a:ext>
            </a:extLst>
          </p:cNvPr>
          <p:cNvPicPr>
            <a:picLocks noGrp="1" noChangeAspect="1"/>
          </p:cNvPicPr>
          <p:nvPr>
            <p:ph type="pic" sz="quarter" idx="15"/>
          </p:nvPr>
        </p:nvPicPr>
        <p:blipFill rotWithShape="1">
          <a:blip r:embed="rId5"/>
          <a:srcRect l="41863" r="8213"/>
          <a:stretch/>
        </p:blipFill>
        <p:spPr>
          <a:xfrm>
            <a:off x="10096500" y="0"/>
            <a:ext cx="2093913" cy="4194175"/>
          </a:xfrm>
        </p:spPr>
      </p:pic>
    </p:spTree>
    <p:extLst>
      <p:ext uri="{BB962C8B-B14F-4D97-AF65-F5344CB8AC3E}">
        <p14:creationId xmlns:p14="http://schemas.microsoft.com/office/powerpoint/2010/main" val="36358529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23789" y="1590805"/>
            <a:ext cx="2234480" cy="2115435"/>
            <a:chOff x="534292" y="1622207"/>
            <a:chExt cx="2279286" cy="2157854"/>
          </a:xfrm>
        </p:grpSpPr>
        <p:sp>
          <p:nvSpPr>
            <p:cNvPr id="14" name="Rectangle 13"/>
            <p:cNvSpPr/>
            <p:nvPr/>
          </p:nvSpPr>
          <p:spPr bwMode="auto">
            <a:xfrm flipV="1">
              <a:off x="534292" y="1622207"/>
              <a:ext cx="2279286" cy="215785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extBox 18"/>
            <p:cNvSpPr txBox="1"/>
            <p:nvPr/>
          </p:nvSpPr>
          <p:spPr>
            <a:xfrm>
              <a:off x="1399348" y="2709878"/>
              <a:ext cx="1020890" cy="570333"/>
            </a:xfrm>
            <a:prstGeom prst="rect">
              <a:avLst/>
            </a:prstGeom>
            <a:noFill/>
          </p:spPr>
          <p:txBody>
            <a:bodyPr wrap="square" lIns="121913" tIns="60957" rIns="121913" bIns="60957" rtlCol="0">
              <a:spAutoFit/>
            </a:bodyPr>
            <a:lstStyle/>
            <a:p>
              <a:pPr marL="0" marR="0" lvl="0" indent="0" algn="l" defTabSz="609543" rtl="0" eaLnBrk="1" fontAlgn="base" latinLnBrk="0" hangingPunct="1">
                <a:lnSpc>
                  <a:spcPts val="1667"/>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FFFFFF"/>
                  </a:solidFill>
                  <a:effectLst/>
                  <a:uLnTx/>
                  <a:uFillTx/>
                  <a:latin typeface="Segoe UI"/>
                  <a:ea typeface="+mn-ea"/>
                  <a:cs typeface="Segoe UI Light"/>
                </a:rPr>
                <a:t>trillion a year</a:t>
              </a:r>
              <a:r>
                <a:rPr kumimoji="0" lang="en-US" sz="1568" b="1" i="0" u="none" strike="noStrike" kern="1200" cap="none" spc="0" normalizeH="0" baseline="30000" noProof="0" dirty="0">
                  <a:ln>
                    <a:noFill/>
                  </a:ln>
                  <a:solidFill>
                    <a:srgbClr val="FFFFFF"/>
                  </a:solidFill>
                  <a:effectLst/>
                  <a:uLnTx/>
                  <a:uFillTx/>
                  <a:latin typeface="Segoe UI"/>
                  <a:ea typeface="+mn-ea"/>
                  <a:cs typeface="Segoe UI Light"/>
                </a:rPr>
                <a:t>1</a:t>
              </a:r>
            </a:p>
          </p:txBody>
        </p:sp>
        <p:sp>
          <p:nvSpPr>
            <p:cNvPr id="10" name="Rectangle 9"/>
            <p:cNvSpPr/>
            <p:nvPr/>
          </p:nvSpPr>
          <p:spPr>
            <a:xfrm>
              <a:off x="743098" y="1860307"/>
              <a:ext cx="1908521" cy="830997"/>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Segoe UI Light"/>
                </a:rPr>
                <a:t>Risk of cyber attacks can cost business up to</a:t>
              </a:r>
              <a:endParaRPr kumimoji="0" lang="en-US" sz="137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Rectangle 10"/>
            <p:cNvSpPr/>
            <p:nvPr/>
          </p:nvSpPr>
          <p:spPr>
            <a:xfrm>
              <a:off x="940998" y="2496263"/>
              <a:ext cx="582211" cy="1107996"/>
            </a:xfrm>
            <a:prstGeom prst="rect">
              <a:avLst/>
            </a:prstGeom>
          </p:spPr>
          <p:txBody>
            <a:bodyPr wrap="non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6470" b="0" i="0" u="none" strike="noStrike" kern="1200" cap="none" spc="-294" normalizeH="0" baseline="0" noProof="0" dirty="0">
                  <a:ln>
                    <a:noFill/>
                  </a:ln>
                  <a:solidFill>
                    <a:srgbClr val="FFFFFF"/>
                  </a:solidFill>
                  <a:effectLst/>
                  <a:uLnTx/>
                  <a:uFillTx/>
                  <a:latin typeface="Segoe UI Light"/>
                  <a:ea typeface="+mn-ea"/>
                  <a:cs typeface="+mn-cs"/>
                </a:rPr>
                <a:t>3</a:t>
              </a:r>
              <a:endParaRPr kumimoji="0" lang="en-US" sz="4313" b="0" i="0" u="none" strike="noStrike" kern="1200" cap="none" spc="-294" normalizeH="0" baseline="0" noProof="0" dirty="0">
                <a:ln>
                  <a:noFill/>
                </a:ln>
                <a:solidFill>
                  <a:srgbClr val="FFFFFF"/>
                </a:solidFill>
                <a:effectLst/>
                <a:uLnTx/>
                <a:uFillTx/>
                <a:latin typeface="Segoe UI Light"/>
                <a:ea typeface="+mn-ea"/>
                <a:cs typeface="+mn-cs"/>
              </a:endParaRPr>
            </a:p>
          </p:txBody>
        </p:sp>
        <p:sp>
          <p:nvSpPr>
            <p:cNvPr id="12" name="Rectangle 11"/>
            <p:cNvSpPr/>
            <p:nvPr/>
          </p:nvSpPr>
          <p:spPr>
            <a:xfrm>
              <a:off x="691015" y="2576329"/>
              <a:ext cx="460195" cy="771201"/>
            </a:xfrm>
            <a:prstGeom prst="rect">
              <a:avLst/>
            </a:prstGeom>
          </p:spPr>
          <p:txBody>
            <a:bodyPr wrap="none">
              <a:spAutoFit/>
            </a:bodyPr>
            <a:lstStyle/>
            <a:p>
              <a:pPr marL="0" marR="0" lvl="0" indent="0" algn="ctr" defTabSz="896386" rtl="0" eaLnBrk="1" fontAlgn="base" latinLnBrk="0" hangingPunct="1">
                <a:lnSpc>
                  <a:spcPct val="100000"/>
                </a:lnSpc>
                <a:spcBef>
                  <a:spcPts val="0"/>
                </a:spcBef>
                <a:spcAft>
                  <a:spcPts val="0"/>
                </a:spcAft>
                <a:buClrTx/>
                <a:buSzTx/>
                <a:buFontTx/>
                <a:buNone/>
                <a:tabLst/>
                <a:defRPr/>
              </a:pPr>
              <a:r>
                <a:rPr kumimoji="0" lang="en-US" sz="4313" b="0" i="0" u="none" strike="noStrike" kern="1200" cap="none" spc="-147" normalizeH="0" baseline="0" noProof="0" dirty="0">
                  <a:ln>
                    <a:noFill/>
                  </a:ln>
                  <a:solidFill>
                    <a:srgbClr val="FFFFFF"/>
                  </a:solidFill>
                  <a:effectLst/>
                  <a:uLnTx/>
                  <a:uFillTx/>
                  <a:latin typeface="Segoe UI Light"/>
                  <a:ea typeface="+mn-ea"/>
                  <a:cs typeface="+mn-cs"/>
                </a:rPr>
                <a:t>$</a:t>
              </a:r>
              <a:endParaRPr kumimoji="0" lang="en-US" sz="1372"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7" name="Group 86"/>
          <p:cNvGrpSpPr/>
          <p:nvPr/>
        </p:nvGrpSpPr>
        <p:grpSpPr>
          <a:xfrm>
            <a:off x="523789" y="3706739"/>
            <a:ext cx="2234480" cy="2115435"/>
            <a:chOff x="534292" y="3780570"/>
            <a:chExt cx="2279286" cy="2157854"/>
          </a:xfrm>
        </p:grpSpPr>
        <p:sp>
          <p:nvSpPr>
            <p:cNvPr id="26" name="Rectangle 25"/>
            <p:cNvSpPr/>
            <p:nvPr/>
          </p:nvSpPr>
          <p:spPr bwMode="auto">
            <a:xfrm flipV="1">
              <a:off x="534292" y="3780570"/>
              <a:ext cx="2279286" cy="21578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sng"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Freeform 9"/>
            <p:cNvSpPr>
              <a:spLocks noEditPoints="1"/>
            </p:cNvSpPr>
            <p:nvPr/>
          </p:nvSpPr>
          <p:spPr bwMode="auto">
            <a:xfrm>
              <a:off x="1084006" y="4166015"/>
              <a:ext cx="1134437" cy="1451520"/>
            </a:xfrm>
            <a:custGeom>
              <a:avLst/>
              <a:gdLst>
                <a:gd name="T0" fmla="*/ 792 w 2761"/>
                <a:gd name="T1" fmla="*/ 1110 h 3534"/>
                <a:gd name="T2" fmla="*/ 904 w 2761"/>
                <a:gd name="T3" fmla="*/ 1231 h 3534"/>
                <a:gd name="T4" fmla="*/ 1060 w 2761"/>
                <a:gd name="T5" fmla="*/ 1281 h 3534"/>
                <a:gd name="T6" fmla="*/ 1202 w 2761"/>
                <a:gd name="T7" fmla="*/ 1257 h 3534"/>
                <a:gd name="T8" fmla="*/ 1107 w 2761"/>
                <a:gd name="T9" fmla="*/ 1127 h 3534"/>
                <a:gd name="T10" fmla="*/ 1871 w 2761"/>
                <a:gd name="T11" fmla="*/ 1038 h 3534"/>
                <a:gd name="T12" fmla="*/ 1508 w 2761"/>
                <a:gd name="T13" fmla="*/ 1233 h 3534"/>
                <a:gd name="T14" fmla="*/ 1688 w 2761"/>
                <a:gd name="T15" fmla="*/ 1282 h 3534"/>
                <a:gd name="T16" fmla="*/ 1859 w 2761"/>
                <a:gd name="T17" fmla="*/ 1227 h 3534"/>
                <a:gd name="T18" fmla="*/ 1968 w 2761"/>
                <a:gd name="T19" fmla="*/ 1111 h 3534"/>
                <a:gd name="T20" fmla="*/ 1365 w 2761"/>
                <a:gd name="T21" fmla="*/ 0 h 3534"/>
                <a:gd name="T22" fmla="*/ 1700 w 2761"/>
                <a:gd name="T23" fmla="*/ 37 h 3534"/>
                <a:gd name="T24" fmla="*/ 1916 w 2761"/>
                <a:gd name="T25" fmla="*/ 101 h 3534"/>
                <a:gd name="T26" fmla="*/ 1979 w 2761"/>
                <a:gd name="T27" fmla="*/ 184 h 3534"/>
                <a:gd name="T28" fmla="*/ 2061 w 2761"/>
                <a:gd name="T29" fmla="*/ 454 h 3534"/>
                <a:gd name="T30" fmla="*/ 2113 w 2761"/>
                <a:gd name="T31" fmla="*/ 587 h 3534"/>
                <a:gd name="T32" fmla="*/ 2291 w 2761"/>
                <a:gd name="T33" fmla="*/ 629 h 3534"/>
                <a:gd name="T34" fmla="*/ 2601 w 2761"/>
                <a:gd name="T35" fmla="*/ 706 h 3534"/>
                <a:gd name="T36" fmla="*/ 2718 w 2761"/>
                <a:gd name="T37" fmla="*/ 790 h 3534"/>
                <a:gd name="T38" fmla="*/ 2761 w 2761"/>
                <a:gd name="T39" fmla="*/ 902 h 3534"/>
                <a:gd name="T40" fmla="*/ 2721 w 2761"/>
                <a:gd name="T41" fmla="*/ 1023 h 3534"/>
                <a:gd name="T42" fmla="*/ 2589 w 2761"/>
                <a:gd name="T43" fmla="*/ 1152 h 3534"/>
                <a:gd name="T44" fmla="*/ 2299 w 2761"/>
                <a:gd name="T45" fmla="*/ 1285 h 3534"/>
                <a:gd name="T46" fmla="*/ 2144 w 2761"/>
                <a:gd name="T47" fmla="*/ 1346 h 3534"/>
                <a:gd name="T48" fmla="*/ 2099 w 2761"/>
                <a:gd name="T49" fmla="*/ 1426 h 3534"/>
                <a:gd name="T50" fmla="*/ 2119 w 2761"/>
                <a:gd name="T51" fmla="*/ 1548 h 3534"/>
                <a:gd name="T52" fmla="*/ 2191 w 2761"/>
                <a:gd name="T53" fmla="*/ 1700 h 3534"/>
                <a:gd name="T54" fmla="*/ 2396 w 2761"/>
                <a:gd name="T55" fmla="*/ 1965 h 3534"/>
                <a:gd name="T56" fmla="*/ 2589 w 2761"/>
                <a:gd name="T57" fmla="*/ 2122 h 3534"/>
                <a:gd name="T58" fmla="*/ 2633 w 2761"/>
                <a:gd name="T59" fmla="*/ 2260 h 3534"/>
                <a:gd name="T60" fmla="*/ 2755 w 2761"/>
                <a:gd name="T61" fmla="*/ 3236 h 3534"/>
                <a:gd name="T62" fmla="*/ 2727 w 2761"/>
                <a:gd name="T63" fmla="*/ 3309 h 3534"/>
                <a:gd name="T64" fmla="*/ 2529 w 2761"/>
                <a:gd name="T65" fmla="*/ 3380 h 3534"/>
                <a:gd name="T66" fmla="*/ 2206 w 2761"/>
                <a:gd name="T67" fmla="*/ 3464 h 3534"/>
                <a:gd name="T68" fmla="*/ 1509 w 2761"/>
                <a:gd name="T69" fmla="*/ 3532 h 3534"/>
                <a:gd name="T70" fmla="*/ 813 w 2761"/>
                <a:gd name="T71" fmla="*/ 3500 h 3534"/>
                <a:gd name="T72" fmla="*/ 326 w 2761"/>
                <a:gd name="T73" fmla="*/ 3403 h 3534"/>
                <a:gd name="T74" fmla="*/ 99 w 2761"/>
                <a:gd name="T75" fmla="*/ 3318 h 3534"/>
                <a:gd name="T76" fmla="*/ 58 w 2761"/>
                <a:gd name="T77" fmla="*/ 3259 h 3534"/>
                <a:gd name="T78" fmla="*/ 132 w 2761"/>
                <a:gd name="T79" fmla="*/ 2242 h 3534"/>
                <a:gd name="T80" fmla="*/ 160 w 2761"/>
                <a:gd name="T81" fmla="*/ 2132 h 3534"/>
                <a:gd name="T82" fmla="*/ 310 w 2761"/>
                <a:gd name="T83" fmla="*/ 2004 h 3534"/>
                <a:gd name="T84" fmla="*/ 587 w 2761"/>
                <a:gd name="T85" fmla="*/ 1752 h 3534"/>
                <a:gd name="T86" fmla="*/ 580 w 2761"/>
                <a:gd name="T87" fmla="*/ 1567 h 3534"/>
                <a:gd name="T88" fmla="*/ 658 w 2761"/>
                <a:gd name="T89" fmla="*/ 1418 h 3534"/>
                <a:gd name="T90" fmla="*/ 608 w 2761"/>
                <a:gd name="T91" fmla="*/ 1338 h 3534"/>
                <a:gd name="T92" fmla="*/ 253 w 2761"/>
                <a:gd name="T93" fmla="*/ 1203 h 3534"/>
                <a:gd name="T94" fmla="*/ 138 w 2761"/>
                <a:gd name="T95" fmla="*/ 1133 h 3534"/>
                <a:gd name="T96" fmla="*/ 50 w 2761"/>
                <a:gd name="T97" fmla="*/ 1049 h 3534"/>
                <a:gd name="T98" fmla="*/ 2 w 2761"/>
                <a:gd name="T99" fmla="*/ 943 h 3534"/>
                <a:gd name="T100" fmla="*/ 21 w 2761"/>
                <a:gd name="T101" fmla="*/ 817 h 3534"/>
                <a:gd name="T102" fmla="*/ 96 w 2761"/>
                <a:gd name="T103" fmla="*/ 734 h 3534"/>
                <a:gd name="T104" fmla="*/ 201 w 2761"/>
                <a:gd name="T105" fmla="*/ 688 h 3534"/>
                <a:gd name="T106" fmla="*/ 493 w 2761"/>
                <a:gd name="T107" fmla="*/ 624 h 3534"/>
                <a:gd name="T108" fmla="*/ 643 w 2761"/>
                <a:gd name="T109" fmla="*/ 588 h 3534"/>
                <a:gd name="T110" fmla="*/ 692 w 2761"/>
                <a:gd name="T111" fmla="*/ 475 h 3534"/>
                <a:gd name="T112" fmla="*/ 761 w 2761"/>
                <a:gd name="T113" fmla="*/ 242 h 3534"/>
                <a:gd name="T114" fmla="*/ 810 w 2761"/>
                <a:gd name="T115" fmla="*/ 135 h 3534"/>
                <a:gd name="T116" fmla="*/ 898 w 2761"/>
                <a:gd name="T117" fmla="*/ 74 h 3534"/>
                <a:gd name="T118" fmla="*/ 1117 w 2761"/>
                <a:gd name="T119" fmla="*/ 17 h 3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61" h="3534">
                  <a:moveTo>
                    <a:pt x="755" y="986"/>
                  </a:moveTo>
                  <a:lnTo>
                    <a:pt x="762" y="1030"/>
                  </a:lnTo>
                  <a:lnTo>
                    <a:pt x="775" y="1072"/>
                  </a:lnTo>
                  <a:lnTo>
                    <a:pt x="792" y="1110"/>
                  </a:lnTo>
                  <a:lnTo>
                    <a:pt x="813" y="1146"/>
                  </a:lnTo>
                  <a:lnTo>
                    <a:pt x="840" y="1178"/>
                  </a:lnTo>
                  <a:lnTo>
                    <a:pt x="870" y="1207"/>
                  </a:lnTo>
                  <a:lnTo>
                    <a:pt x="904" y="1231"/>
                  </a:lnTo>
                  <a:lnTo>
                    <a:pt x="942" y="1251"/>
                  </a:lnTo>
                  <a:lnTo>
                    <a:pt x="983" y="1266"/>
                  </a:lnTo>
                  <a:lnTo>
                    <a:pt x="1021" y="1275"/>
                  </a:lnTo>
                  <a:lnTo>
                    <a:pt x="1060" y="1281"/>
                  </a:lnTo>
                  <a:lnTo>
                    <a:pt x="1098" y="1281"/>
                  </a:lnTo>
                  <a:lnTo>
                    <a:pt x="1135" y="1277"/>
                  </a:lnTo>
                  <a:lnTo>
                    <a:pt x="1169" y="1269"/>
                  </a:lnTo>
                  <a:lnTo>
                    <a:pt x="1202" y="1257"/>
                  </a:lnTo>
                  <a:lnTo>
                    <a:pt x="1231" y="1241"/>
                  </a:lnTo>
                  <a:lnTo>
                    <a:pt x="1258" y="1221"/>
                  </a:lnTo>
                  <a:lnTo>
                    <a:pt x="1281" y="1197"/>
                  </a:lnTo>
                  <a:lnTo>
                    <a:pt x="1107" y="1127"/>
                  </a:lnTo>
                  <a:lnTo>
                    <a:pt x="933" y="1058"/>
                  </a:lnTo>
                  <a:lnTo>
                    <a:pt x="755" y="986"/>
                  </a:lnTo>
                  <a:close/>
                  <a:moveTo>
                    <a:pt x="2010" y="983"/>
                  </a:moveTo>
                  <a:lnTo>
                    <a:pt x="1871" y="1038"/>
                  </a:lnTo>
                  <a:lnTo>
                    <a:pt x="1735" y="1094"/>
                  </a:lnTo>
                  <a:lnTo>
                    <a:pt x="1599" y="1149"/>
                  </a:lnTo>
                  <a:lnTo>
                    <a:pt x="1462" y="1205"/>
                  </a:lnTo>
                  <a:lnTo>
                    <a:pt x="1508" y="1233"/>
                  </a:lnTo>
                  <a:lnTo>
                    <a:pt x="1554" y="1256"/>
                  </a:lnTo>
                  <a:lnTo>
                    <a:pt x="1599" y="1271"/>
                  </a:lnTo>
                  <a:lnTo>
                    <a:pt x="1644" y="1280"/>
                  </a:lnTo>
                  <a:lnTo>
                    <a:pt x="1688" y="1282"/>
                  </a:lnTo>
                  <a:lnTo>
                    <a:pt x="1733" y="1276"/>
                  </a:lnTo>
                  <a:lnTo>
                    <a:pt x="1777" y="1265"/>
                  </a:lnTo>
                  <a:lnTo>
                    <a:pt x="1822" y="1246"/>
                  </a:lnTo>
                  <a:lnTo>
                    <a:pt x="1859" y="1227"/>
                  </a:lnTo>
                  <a:lnTo>
                    <a:pt x="1892" y="1203"/>
                  </a:lnTo>
                  <a:lnTo>
                    <a:pt x="1921" y="1177"/>
                  </a:lnTo>
                  <a:lnTo>
                    <a:pt x="1947" y="1146"/>
                  </a:lnTo>
                  <a:lnTo>
                    <a:pt x="1968" y="1111"/>
                  </a:lnTo>
                  <a:lnTo>
                    <a:pt x="1987" y="1073"/>
                  </a:lnTo>
                  <a:lnTo>
                    <a:pt x="2001" y="1030"/>
                  </a:lnTo>
                  <a:lnTo>
                    <a:pt x="2010" y="983"/>
                  </a:lnTo>
                  <a:close/>
                  <a:moveTo>
                    <a:pt x="1365" y="0"/>
                  </a:moveTo>
                  <a:lnTo>
                    <a:pt x="1449" y="2"/>
                  </a:lnTo>
                  <a:lnTo>
                    <a:pt x="1531" y="9"/>
                  </a:lnTo>
                  <a:lnTo>
                    <a:pt x="1616" y="19"/>
                  </a:lnTo>
                  <a:lnTo>
                    <a:pt x="1700" y="37"/>
                  </a:lnTo>
                  <a:lnTo>
                    <a:pt x="1783" y="57"/>
                  </a:lnTo>
                  <a:lnTo>
                    <a:pt x="1867" y="78"/>
                  </a:lnTo>
                  <a:lnTo>
                    <a:pt x="1892" y="88"/>
                  </a:lnTo>
                  <a:lnTo>
                    <a:pt x="1916" y="101"/>
                  </a:lnTo>
                  <a:lnTo>
                    <a:pt x="1936" y="117"/>
                  </a:lnTo>
                  <a:lnTo>
                    <a:pt x="1953" y="136"/>
                  </a:lnTo>
                  <a:lnTo>
                    <a:pt x="1967" y="159"/>
                  </a:lnTo>
                  <a:lnTo>
                    <a:pt x="1979" y="184"/>
                  </a:lnTo>
                  <a:lnTo>
                    <a:pt x="1988" y="213"/>
                  </a:lnTo>
                  <a:lnTo>
                    <a:pt x="2010" y="294"/>
                  </a:lnTo>
                  <a:lnTo>
                    <a:pt x="2035" y="374"/>
                  </a:lnTo>
                  <a:lnTo>
                    <a:pt x="2061" y="454"/>
                  </a:lnTo>
                  <a:lnTo>
                    <a:pt x="2084" y="535"/>
                  </a:lnTo>
                  <a:lnTo>
                    <a:pt x="2092" y="556"/>
                  </a:lnTo>
                  <a:lnTo>
                    <a:pt x="2101" y="573"/>
                  </a:lnTo>
                  <a:lnTo>
                    <a:pt x="2113" y="587"/>
                  </a:lnTo>
                  <a:lnTo>
                    <a:pt x="2129" y="597"/>
                  </a:lnTo>
                  <a:lnTo>
                    <a:pt x="2149" y="604"/>
                  </a:lnTo>
                  <a:lnTo>
                    <a:pt x="2171" y="609"/>
                  </a:lnTo>
                  <a:lnTo>
                    <a:pt x="2291" y="629"/>
                  </a:lnTo>
                  <a:lnTo>
                    <a:pt x="2411" y="653"/>
                  </a:lnTo>
                  <a:lnTo>
                    <a:pt x="2530" y="679"/>
                  </a:lnTo>
                  <a:lnTo>
                    <a:pt x="2566" y="691"/>
                  </a:lnTo>
                  <a:lnTo>
                    <a:pt x="2601" y="706"/>
                  </a:lnTo>
                  <a:lnTo>
                    <a:pt x="2635" y="724"/>
                  </a:lnTo>
                  <a:lnTo>
                    <a:pt x="2667" y="745"/>
                  </a:lnTo>
                  <a:lnTo>
                    <a:pt x="2695" y="766"/>
                  </a:lnTo>
                  <a:lnTo>
                    <a:pt x="2718" y="790"/>
                  </a:lnTo>
                  <a:lnTo>
                    <a:pt x="2736" y="817"/>
                  </a:lnTo>
                  <a:lnTo>
                    <a:pt x="2750" y="843"/>
                  </a:lnTo>
                  <a:lnTo>
                    <a:pt x="2758" y="872"/>
                  </a:lnTo>
                  <a:lnTo>
                    <a:pt x="2761" y="902"/>
                  </a:lnTo>
                  <a:lnTo>
                    <a:pt x="2759" y="933"/>
                  </a:lnTo>
                  <a:lnTo>
                    <a:pt x="2753" y="963"/>
                  </a:lnTo>
                  <a:lnTo>
                    <a:pt x="2739" y="993"/>
                  </a:lnTo>
                  <a:lnTo>
                    <a:pt x="2721" y="1023"/>
                  </a:lnTo>
                  <a:lnTo>
                    <a:pt x="2692" y="1059"/>
                  </a:lnTo>
                  <a:lnTo>
                    <a:pt x="2660" y="1092"/>
                  </a:lnTo>
                  <a:lnTo>
                    <a:pt x="2625" y="1124"/>
                  </a:lnTo>
                  <a:lnTo>
                    <a:pt x="2589" y="1152"/>
                  </a:lnTo>
                  <a:lnTo>
                    <a:pt x="2550" y="1176"/>
                  </a:lnTo>
                  <a:lnTo>
                    <a:pt x="2469" y="1216"/>
                  </a:lnTo>
                  <a:lnTo>
                    <a:pt x="2384" y="1253"/>
                  </a:lnTo>
                  <a:lnTo>
                    <a:pt x="2299" y="1285"/>
                  </a:lnTo>
                  <a:lnTo>
                    <a:pt x="2212" y="1314"/>
                  </a:lnTo>
                  <a:lnTo>
                    <a:pt x="2186" y="1323"/>
                  </a:lnTo>
                  <a:lnTo>
                    <a:pt x="2164" y="1334"/>
                  </a:lnTo>
                  <a:lnTo>
                    <a:pt x="2144" y="1346"/>
                  </a:lnTo>
                  <a:lnTo>
                    <a:pt x="2128" y="1361"/>
                  </a:lnTo>
                  <a:lnTo>
                    <a:pt x="2115" y="1379"/>
                  </a:lnTo>
                  <a:lnTo>
                    <a:pt x="2106" y="1401"/>
                  </a:lnTo>
                  <a:lnTo>
                    <a:pt x="2099" y="1426"/>
                  </a:lnTo>
                  <a:lnTo>
                    <a:pt x="2090" y="1458"/>
                  </a:lnTo>
                  <a:lnTo>
                    <a:pt x="2077" y="1493"/>
                  </a:lnTo>
                  <a:lnTo>
                    <a:pt x="2062" y="1531"/>
                  </a:lnTo>
                  <a:lnTo>
                    <a:pt x="2119" y="1548"/>
                  </a:lnTo>
                  <a:lnTo>
                    <a:pt x="2176" y="1566"/>
                  </a:lnTo>
                  <a:lnTo>
                    <a:pt x="2236" y="1584"/>
                  </a:lnTo>
                  <a:lnTo>
                    <a:pt x="2214" y="1643"/>
                  </a:lnTo>
                  <a:lnTo>
                    <a:pt x="2191" y="1700"/>
                  </a:lnTo>
                  <a:lnTo>
                    <a:pt x="2170" y="1754"/>
                  </a:lnTo>
                  <a:lnTo>
                    <a:pt x="2151" y="1805"/>
                  </a:lnTo>
                  <a:lnTo>
                    <a:pt x="2275" y="1886"/>
                  </a:lnTo>
                  <a:lnTo>
                    <a:pt x="2396" y="1965"/>
                  </a:lnTo>
                  <a:lnTo>
                    <a:pt x="2515" y="2046"/>
                  </a:lnTo>
                  <a:lnTo>
                    <a:pt x="2544" y="2068"/>
                  </a:lnTo>
                  <a:lnTo>
                    <a:pt x="2569" y="2094"/>
                  </a:lnTo>
                  <a:lnTo>
                    <a:pt x="2589" y="2122"/>
                  </a:lnTo>
                  <a:lnTo>
                    <a:pt x="2605" y="2152"/>
                  </a:lnTo>
                  <a:lnTo>
                    <a:pt x="2618" y="2185"/>
                  </a:lnTo>
                  <a:lnTo>
                    <a:pt x="2626" y="2221"/>
                  </a:lnTo>
                  <a:lnTo>
                    <a:pt x="2633" y="2260"/>
                  </a:lnTo>
                  <a:lnTo>
                    <a:pt x="2669" y="2577"/>
                  </a:lnTo>
                  <a:lnTo>
                    <a:pt x="2710" y="2894"/>
                  </a:lnTo>
                  <a:lnTo>
                    <a:pt x="2753" y="3211"/>
                  </a:lnTo>
                  <a:lnTo>
                    <a:pt x="2755" y="3236"/>
                  </a:lnTo>
                  <a:lnTo>
                    <a:pt x="2753" y="3259"/>
                  </a:lnTo>
                  <a:lnTo>
                    <a:pt x="2749" y="3278"/>
                  </a:lnTo>
                  <a:lnTo>
                    <a:pt x="2740" y="3295"/>
                  </a:lnTo>
                  <a:lnTo>
                    <a:pt x="2727" y="3309"/>
                  </a:lnTo>
                  <a:lnTo>
                    <a:pt x="2710" y="3320"/>
                  </a:lnTo>
                  <a:lnTo>
                    <a:pt x="2689" y="3328"/>
                  </a:lnTo>
                  <a:lnTo>
                    <a:pt x="2608" y="3354"/>
                  </a:lnTo>
                  <a:lnTo>
                    <a:pt x="2529" y="3380"/>
                  </a:lnTo>
                  <a:lnTo>
                    <a:pt x="2449" y="3405"/>
                  </a:lnTo>
                  <a:lnTo>
                    <a:pt x="2368" y="3429"/>
                  </a:lnTo>
                  <a:lnTo>
                    <a:pt x="2288" y="3449"/>
                  </a:lnTo>
                  <a:lnTo>
                    <a:pt x="2206" y="3464"/>
                  </a:lnTo>
                  <a:lnTo>
                    <a:pt x="2032" y="3490"/>
                  </a:lnTo>
                  <a:lnTo>
                    <a:pt x="1858" y="3510"/>
                  </a:lnTo>
                  <a:lnTo>
                    <a:pt x="1683" y="3524"/>
                  </a:lnTo>
                  <a:lnTo>
                    <a:pt x="1509" y="3532"/>
                  </a:lnTo>
                  <a:lnTo>
                    <a:pt x="1335" y="3534"/>
                  </a:lnTo>
                  <a:lnTo>
                    <a:pt x="1160" y="3530"/>
                  </a:lnTo>
                  <a:lnTo>
                    <a:pt x="987" y="3518"/>
                  </a:lnTo>
                  <a:lnTo>
                    <a:pt x="813" y="3500"/>
                  </a:lnTo>
                  <a:lnTo>
                    <a:pt x="639" y="3475"/>
                  </a:lnTo>
                  <a:lnTo>
                    <a:pt x="465" y="3443"/>
                  </a:lnTo>
                  <a:lnTo>
                    <a:pt x="395" y="3426"/>
                  </a:lnTo>
                  <a:lnTo>
                    <a:pt x="326" y="3403"/>
                  </a:lnTo>
                  <a:lnTo>
                    <a:pt x="256" y="3379"/>
                  </a:lnTo>
                  <a:lnTo>
                    <a:pt x="187" y="3352"/>
                  </a:lnTo>
                  <a:lnTo>
                    <a:pt x="119" y="3326"/>
                  </a:lnTo>
                  <a:lnTo>
                    <a:pt x="99" y="3318"/>
                  </a:lnTo>
                  <a:lnTo>
                    <a:pt x="84" y="3307"/>
                  </a:lnTo>
                  <a:lnTo>
                    <a:pt x="71" y="3293"/>
                  </a:lnTo>
                  <a:lnTo>
                    <a:pt x="62" y="3277"/>
                  </a:lnTo>
                  <a:lnTo>
                    <a:pt x="58" y="3259"/>
                  </a:lnTo>
                  <a:lnTo>
                    <a:pt x="56" y="3238"/>
                  </a:lnTo>
                  <a:lnTo>
                    <a:pt x="56" y="3215"/>
                  </a:lnTo>
                  <a:lnTo>
                    <a:pt x="96" y="2728"/>
                  </a:lnTo>
                  <a:lnTo>
                    <a:pt x="132" y="2242"/>
                  </a:lnTo>
                  <a:lnTo>
                    <a:pt x="135" y="2212"/>
                  </a:lnTo>
                  <a:lnTo>
                    <a:pt x="140" y="2184"/>
                  </a:lnTo>
                  <a:lnTo>
                    <a:pt x="149" y="2157"/>
                  </a:lnTo>
                  <a:lnTo>
                    <a:pt x="160" y="2132"/>
                  </a:lnTo>
                  <a:lnTo>
                    <a:pt x="175" y="2109"/>
                  </a:lnTo>
                  <a:lnTo>
                    <a:pt x="193" y="2089"/>
                  </a:lnTo>
                  <a:lnTo>
                    <a:pt x="214" y="2070"/>
                  </a:lnTo>
                  <a:lnTo>
                    <a:pt x="310" y="2004"/>
                  </a:lnTo>
                  <a:lnTo>
                    <a:pt x="405" y="1937"/>
                  </a:lnTo>
                  <a:lnTo>
                    <a:pt x="505" y="1870"/>
                  </a:lnTo>
                  <a:lnTo>
                    <a:pt x="606" y="1800"/>
                  </a:lnTo>
                  <a:lnTo>
                    <a:pt x="587" y="1752"/>
                  </a:lnTo>
                  <a:lnTo>
                    <a:pt x="567" y="1701"/>
                  </a:lnTo>
                  <a:lnTo>
                    <a:pt x="544" y="1645"/>
                  </a:lnTo>
                  <a:lnTo>
                    <a:pt x="520" y="1585"/>
                  </a:lnTo>
                  <a:lnTo>
                    <a:pt x="580" y="1567"/>
                  </a:lnTo>
                  <a:lnTo>
                    <a:pt x="636" y="1550"/>
                  </a:lnTo>
                  <a:lnTo>
                    <a:pt x="694" y="1531"/>
                  </a:lnTo>
                  <a:lnTo>
                    <a:pt x="676" y="1473"/>
                  </a:lnTo>
                  <a:lnTo>
                    <a:pt x="658" y="1418"/>
                  </a:lnTo>
                  <a:lnTo>
                    <a:pt x="638" y="1363"/>
                  </a:lnTo>
                  <a:lnTo>
                    <a:pt x="631" y="1355"/>
                  </a:lnTo>
                  <a:lnTo>
                    <a:pt x="620" y="1346"/>
                  </a:lnTo>
                  <a:lnTo>
                    <a:pt x="608" y="1338"/>
                  </a:lnTo>
                  <a:lnTo>
                    <a:pt x="595" y="1333"/>
                  </a:lnTo>
                  <a:lnTo>
                    <a:pt x="581" y="1328"/>
                  </a:lnTo>
                  <a:lnTo>
                    <a:pt x="417" y="1266"/>
                  </a:lnTo>
                  <a:lnTo>
                    <a:pt x="253" y="1203"/>
                  </a:lnTo>
                  <a:lnTo>
                    <a:pt x="222" y="1188"/>
                  </a:lnTo>
                  <a:lnTo>
                    <a:pt x="193" y="1170"/>
                  </a:lnTo>
                  <a:lnTo>
                    <a:pt x="164" y="1151"/>
                  </a:lnTo>
                  <a:lnTo>
                    <a:pt x="138" y="1133"/>
                  </a:lnTo>
                  <a:lnTo>
                    <a:pt x="114" y="1113"/>
                  </a:lnTo>
                  <a:lnTo>
                    <a:pt x="91" y="1093"/>
                  </a:lnTo>
                  <a:lnTo>
                    <a:pt x="70" y="1072"/>
                  </a:lnTo>
                  <a:lnTo>
                    <a:pt x="50" y="1049"/>
                  </a:lnTo>
                  <a:lnTo>
                    <a:pt x="33" y="1026"/>
                  </a:lnTo>
                  <a:lnTo>
                    <a:pt x="19" y="1000"/>
                  </a:lnTo>
                  <a:lnTo>
                    <a:pt x="9" y="973"/>
                  </a:lnTo>
                  <a:lnTo>
                    <a:pt x="2" y="943"/>
                  </a:lnTo>
                  <a:lnTo>
                    <a:pt x="0" y="912"/>
                  </a:lnTo>
                  <a:lnTo>
                    <a:pt x="3" y="878"/>
                  </a:lnTo>
                  <a:lnTo>
                    <a:pt x="11" y="846"/>
                  </a:lnTo>
                  <a:lnTo>
                    <a:pt x="21" y="817"/>
                  </a:lnTo>
                  <a:lnTo>
                    <a:pt x="35" y="792"/>
                  </a:lnTo>
                  <a:lnTo>
                    <a:pt x="54" y="771"/>
                  </a:lnTo>
                  <a:lnTo>
                    <a:pt x="74" y="751"/>
                  </a:lnTo>
                  <a:lnTo>
                    <a:pt x="96" y="734"/>
                  </a:lnTo>
                  <a:lnTo>
                    <a:pt x="121" y="720"/>
                  </a:lnTo>
                  <a:lnTo>
                    <a:pt x="147" y="708"/>
                  </a:lnTo>
                  <a:lnTo>
                    <a:pt x="174" y="698"/>
                  </a:lnTo>
                  <a:lnTo>
                    <a:pt x="201" y="688"/>
                  </a:lnTo>
                  <a:lnTo>
                    <a:pt x="229" y="679"/>
                  </a:lnTo>
                  <a:lnTo>
                    <a:pt x="316" y="658"/>
                  </a:lnTo>
                  <a:lnTo>
                    <a:pt x="404" y="639"/>
                  </a:lnTo>
                  <a:lnTo>
                    <a:pt x="493" y="624"/>
                  </a:lnTo>
                  <a:lnTo>
                    <a:pt x="582" y="610"/>
                  </a:lnTo>
                  <a:lnTo>
                    <a:pt x="605" y="604"/>
                  </a:lnTo>
                  <a:lnTo>
                    <a:pt x="626" y="598"/>
                  </a:lnTo>
                  <a:lnTo>
                    <a:pt x="643" y="588"/>
                  </a:lnTo>
                  <a:lnTo>
                    <a:pt x="656" y="574"/>
                  </a:lnTo>
                  <a:lnTo>
                    <a:pt x="666" y="556"/>
                  </a:lnTo>
                  <a:lnTo>
                    <a:pt x="675" y="533"/>
                  </a:lnTo>
                  <a:lnTo>
                    <a:pt x="692" y="475"/>
                  </a:lnTo>
                  <a:lnTo>
                    <a:pt x="710" y="417"/>
                  </a:lnTo>
                  <a:lnTo>
                    <a:pt x="730" y="359"/>
                  </a:lnTo>
                  <a:lnTo>
                    <a:pt x="747" y="301"/>
                  </a:lnTo>
                  <a:lnTo>
                    <a:pt x="761" y="242"/>
                  </a:lnTo>
                  <a:lnTo>
                    <a:pt x="769" y="210"/>
                  </a:lnTo>
                  <a:lnTo>
                    <a:pt x="780" y="182"/>
                  </a:lnTo>
                  <a:lnTo>
                    <a:pt x="794" y="158"/>
                  </a:lnTo>
                  <a:lnTo>
                    <a:pt x="810" y="135"/>
                  </a:lnTo>
                  <a:lnTo>
                    <a:pt x="828" y="117"/>
                  </a:lnTo>
                  <a:lnTo>
                    <a:pt x="850" y="100"/>
                  </a:lnTo>
                  <a:lnTo>
                    <a:pt x="872" y="86"/>
                  </a:lnTo>
                  <a:lnTo>
                    <a:pt x="898" y="74"/>
                  </a:lnTo>
                  <a:lnTo>
                    <a:pt x="925" y="63"/>
                  </a:lnTo>
                  <a:lnTo>
                    <a:pt x="953" y="54"/>
                  </a:lnTo>
                  <a:lnTo>
                    <a:pt x="1035" y="33"/>
                  </a:lnTo>
                  <a:lnTo>
                    <a:pt x="1117" y="17"/>
                  </a:lnTo>
                  <a:lnTo>
                    <a:pt x="1199" y="7"/>
                  </a:lnTo>
                  <a:lnTo>
                    <a:pt x="1283" y="1"/>
                  </a:lnTo>
                  <a:lnTo>
                    <a:pt x="1365" y="0"/>
                  </a:ln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dirty="0">
                <a:ln>
                  <a:noFill/>
                </a:ln>
                <a:solidFill>
                  <a:srgbClr val="505050"/>
                </a:solidFill>
                <a:effectLst/>
                <a:uLnTx/>
                <a:uFillTx/>
                <a:latin typeface="Segoe UI"/>
                <a:ea typeface="+mn-ea"/>
                <a:cs typeface="+mn-cs"/>
              </a:endParaRPr>
            </a:p>
          </p:txBody>
        </p:sp>
      </p:grpSp>
      <p:grpSp>
        <p:nvGrpSpPr>
          <p:cNvPr id="88" name="Group 87"/>
          <p:cNvGrpSpPr/>
          <p:nvPr/>
        </p:nvGrpSpPr>
        <p:grpSpPr>
          <a:xfrm>
            <a:off x="2758269" y="1590805"/>
            <a:ext cx="2234480" cy="2115435"/>
            <a:chOff x="2813578" y="1622207"/>
            <a:chExt cx="2279286" cy="2157854"/>
          </a:xfrm>
        </p:grpSpPr>
        <p:sp>
          <p:nvSpPr>
            <p:cNvPr id="23" name="Rectangle 22"/>
            <p:cNvSpPr/>
            <p:nvPr/>
          </p:nvSpPr>
          <p:spPr bwMode="auto">
            <a:xfrm flipV="1">
              <a:off x="2813578" y="1622207"/>
              <a:ext cx="2279286" cy="21578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sng"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p:cNvGrpSpPr/>
            <p:nvPr/>
          </p:nvGrpSpPr>
          <p:grpSpPr>
            <a:xfrm>
              <a:off x="3232979" y="2128208"/>
              <a:ext cx="1376526" cy="1059453"/>
              <a:chOff x="3045349" y="2087264"/>
              <a:chExt cx="1683761" cy="1295918"/>
            </a:xfrm>
          </p:grpSpPr>
          <p:sp>
            <p:nvSpPr>
              <p:cNvPr id="18" name="Freeform 8"/>
              <p:cNvSpPr>
                <a:spLocks noEditPoints="1"/>
              </p:cNvSpPr>
              <p:nvPr/>
            </p:nvSpPr>
            <p:spPr bwMode="auto">
              <a:xfrm flipH="1">
                <a:off x="3045349" y="2087264"/>
                <a:ext cx="1027247" cy="1244679"/>
              </a:xfrm>
              <a:custGeom>
                <a:avLst/>
                <a:gdLst>
                  <a:gd name="T0" fmla="*/ 2434 w 3325"/>
                  <a:gd name="T1" fmla="*/ 320 h 4031"/>
                  <a:gd name="T2" fmla="*/ 2434 w 3325"/>
                  <a:gd name="T3" fmla="*/ 939 h 4031"/>
                  <a:gd name="T4" fmla="*/ 3039 w 3325"/>
                  <a:gd name="T5" fmla="*/ 939 h 4031"/>
                  <a:gd name="T6" fmla="*/ 2890 w 3325"/>
                  <a:gd name="T7" fmla="*/ 787 h 4031"/>
                  <a:gd name="T8" fmla="*/ 2741 w 3325"/>
                  <a:gd name="T9" fmla="*/ 633 h 4031"/>
                  <a:gd name="T10" fmla="*/ 2588 w 3325"/>
                  <a:gd name="T11" fmla="*/ 479 h 4031"/>
                  <a:gd name="T12" fmla="*/ 2434 w 3325"/>
                  <a:gd name="T13" fmla="*/ 320 h 4031"/>
                  <a:gd name="T14" fmla="*/ 226 w 3325"/>
                  <a:gd name="T15" fmla="*/ 230 h 4031"/>
                  <a:gd name="T16" fmla="*/ 226 w 3325"/>
                  <a:gd name="T17" fmla="*/ 3823 h 4031"/>
                  <a:gd name="T18" fmla="*/ 3144 w 3325"/>
                  <a:gd name="T19" fmla="*/ 3823 h 4031"/>
                  <a:gd name="T20" fmla="*/ 3144 w 3325"/>
                  <a:gd name="T21" fmla="*/ 1152 h 4031"/>
                  <a:gd name="T22" fmla="*/ 2203 w 3325"/>
                  <a:gd name="T23" fmla="*/ 1152 h 4031"/>
                  <a:gd name="T24" fmla="*/ 2203 w 3325"/>
                  <a:gd name="T25" fmla="*/ 230 h 4031"/>
                  <a:gd name="T26" fmla="*/ 226 w 3325"/>
                  <a:gd name="T27" fmla="*/ 230 h 4031"/>
                  <a:gd name="T28" fmla="*/ 2307 w 3325"/>
                  <a:gd name="T29" fmla="*/ 0 h 4031"/>
                  <a:gd name="T30" fmla="*/ 2339 w 3325"/>
                  <a:gd name="T31" fmla="*/ 3 h 4031"/>
                  <a:gd name="T32" fmla="*/ 2366 w 3325"/>
                  <a:gd name="T33" fmla="*/ 9 h 4031"/>
                  <a:gd name="T34" fmla="*/ 2392 w 3325"/>
                  <a:gd name="T35" fmla="*/ 20 h 4031"/>
                  <a:gd name="T36" fmla="*/ 2416 w 3325"/>
                  <a:gd name="T37" fmla="*/ 34 h 4031"/>
                  <a:gd name="T38" fmla="*/ 2439 w 3325"/>
                  <a:gd name="T39" fmla="*/ 55 h 4031"/>
                  <a:gd name="T40" fmla="*/ 2718 w 3325"/>
                  <a:gd name="T41" fmla="*/ 335 h 4031"/>
                  <a:gd name="T42" fmla="*/ 2998 w 3325"/>
                  <a:gd name="T43" fmla="*/ 614 h 4031"/>
                  <a:gd name="T44" fmla="*/ 3276 w 3325"/>
                  <a:gd name="T45" fmla="*/ 894 h 4031"/>
                  <a:gd name="T46" fmla="*/ 3291 w 3325"/>
                  <a:gd name="T47" fmla="*/ 911 h 4031"/>
                  <a:gd name="T48" fmla="*/ 3305 w 3325"/>
                  <a:gd name="T49" fmla="*/ 933 h 4031"/>
                  <a:gd name="T50" fmla="*/ 3314 w 3325"/>
                  <a:gd name="T51" fmla="*/ 956 h 4031"/>
                  <a:gd name="T52" fmla="*/ 3322 w 3325"/>
                  <a:gd name="T53" fmla="*/ 979 h 4031"/>
                  <a:gd name="T54" fmla="*/ 3324 w 3325"/>
                  <a:gd name="T55" fmla="*/ 1002 h 4031"/>
                  <a:gd name="T56" fmla="*/ 3325 w 3325"/>
                  <a:gd name="T57" fmla="*/ 2478 h 4031"/>
                  <a:gd name="T58" fmla="*/ 3325 w 3325"/>
                  <a:gd name="T59" fmla="*/ 3954 h 4031"/>
                  <a:gd name="T60" fmla="*/ 3325 w 3325"/>
                  <a:gd name="T61" fmla="*/ 4031 h 4031"/>
                  <a:gd name="T62" fmla="*/ 0 w 3325"/>
                  <a:gd name="T63" fmla="*/ 4031 h 4031"/>
                  <a:gd name="T64" fmla="*/ 0 w 3325"/>
                  <a:gd name="T65" fmla="*/ 1 h 4031"/>
                  <a:gd name="T66" fmla="*/ 83 w 3325"/>
                  <a:gd name="T67" fmla="*/ 1 h 4031"/>
                  <a:gd name="T68" fmla="*/ 1195 w 3325"/>
                  <a:gd name="T69" fmla="*/ 1 h 4031"/>
                  <a:gd name="T70" fmla="*/ 2307 w 3325"/>
                  <a:gd name="T71" fmla="*/ 0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25" h="4031">
                    <a:moveTo>
                      <a:pt x="2434" y="320"/>
                    </a:moveTo>
                    <a:lnTo>
                      <a:pt x="2434" y="939"/>
                    </a:lnTo>
                    <a:lnTo>
                      <a:pt x="3039" y="939"/>
                    </a:lnTo>
                    <a:lnTo>
                      <a:pt x="2890" y="787"/>
                    </a:lnTo>
                    <a:lnTo>
                      <a:pt x="2741" y="633"/>
                    </a:lnTo>
                    <a:lnTo>
                      <a:pt x="2588" y="479"/>
                    </a:lnTo>
                    <a:lnTo>
                      <a:pt x="2434" y="320"/>
                    </a:lnTo>
                    <a:close/>
                    <a:moveTo>
                      <a:pt x="226" y="230"/>
                    </a:moveTo>
                    <a:lnTo>
                      <a:pt x="226" y="3823"/>
                    </a:lnTo>
                    <a:lnTo>
                      <a:pt x="3144" y="3823"/>
                    </a:lnTo>
                    <a:lnTo>
                      <a:pt x="3144" y="1152"/>
                    </a:lnTo>
                    <a:lnTo>
                      <a:pt x="2203" y="1152"/>
                    </a:lnTo>
                    <a:lnTo>
                      <a:pt x="2203" y="230"/>
                    </a:lnTo>
                    <a:lnTo>
                      <a:pt x="226" y="230"/>
                    </a:lnTo>
                    <a:close/>
                    <a:moveTo>
                      <a:pt x="2307" y="0"/>
                    </a:moveTo>
                    <a:lnTo>
                      <a:pt x="2339" y="3"/>
                    </a:lnTo>
                    <a:lnTo>
                      <a:pt x="2366" y="9"/>
                    </a:lnTo>
                    <a:lnTo>
                      <a:pt x="2392" y="20"/>
                    </a:lnTo>
                    <a:lnTo>
                      <a:pt x="2416" y="34"/>
                    </a:lnTo>
                    <a:lnTo>
                      <a:pt x="2439" y="55"/>
                    </a:lnTo>
                    <a:lnTo>
                      <a:pt x="2718" y="335"/>
                    </a:lnTo>
                    <a:lnTo>
                      <a:pt x="2998" y="614"/>
                    </a:lnTo>
                    <a:lnTo>
                      <a:pt x="3276" y="894"/>
                    </a:lnTo>
                    <a:lnTo>
                      <a:pt x="3291" y="911"/>
                    </a:lnTo>
                    <a:lnTo>
                      <a:pt x="3305" y="933"/>
                    </a:lnTo>
                    <a:lnTo>
                      <a:pt x="3314" y="956"/>
                    </a:lnTo>
                    <a:lnTo>
                      <a:pt x="3322" y="979"/>
                    </a:lnTo>
                    <a:lnTo>
                      <a:pt x="3324" y="1002"/>
                    </a:lnTo>
                    <a:lnTo>
                      <a:pt x="3325" y="2478"/>
                    </a:lnTo>
                    <a:lnTo>
                      <a:pt x="3325" y="3954"/>
                    </a:lnTo>
                    <a:lnTo>
                      <a:pt x="3325" y="4031"/>
                    </a:lnTo>
                    <a:lnTo>
                      <a:pt x="0" y="4031"/>
                    </a:lnTo>
                    <a:lnTo>
                      <a:pt x="0" y="1"/>
                    </a:lnTo>
                    <a:lnTo>
                      <a:pt x="83" y="1"/>
                    </a:lnTo>
                    <a:lnTo>
                      <a:pt x="1195" y="1"/>
                    </a:lnTo>
                    <a:lnTo>
                      <a:pt x="2307" y="0"/>
                    </a:lnTo>
                    <a:close/>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grpSp>
            <p:nvGrpSpPr>
              <p:cNvPr id="67613" name="Group 67612"/>
              <p:cNvGrpSpPr/>
              <p:nvPr/>
            </p:nvGrpSpPr>
            <p:grpSpPr>
              <a:xfrm rot="19236619" flipH="1">
                <a:off x="3945883" y="2273739"/>
                <a:ext cx="783227" cy="1109443"/>
                <a:chOff x="-6246813" y="2241551"/>
                <a:chExt cx="808038" cy="1144587"/>
              </a:xfrm>
            </p:grpSpPr>
            <p:sp>
              <p:nvSpPr>
                <p:cNvPr id="67611" name="Freeform 42"/>
                <p:cNvSpPr>
                  <a:spLocks noEditPoints="1"/>
                </p:cNvSpPr>
                <p:nvPr/>
              </p:nvSpPr>
              <p:spPr bwMode="auto">
                <a:xfrm>
                  <a:off x="-6246813" y="2779713"/>
                  <a:ext cx="808038" cy="606425"/>
                </a:xfrm>
                <a:custGeom>
                  <a:avLst/>
                  <a:gdLst>
                    <a:gd name="T0" fmla="*/ 482 w 1020"/>
                    <a:gd name="T1" fmla="*/ 199 h 764"/>
                    <a:gd name="T2" fmla="*/ 437 w 1020"/>
                    <a:gd name="T3" fmla="*/ 225 h 764"/>
                    <a:gd name="T4" fmla="*/ 410 w 1020"/>
                    <a:gd name="T5" fmla="*/ 271 h 764"/>
                    <a:gd name="T6" fmla="*/ 409 w 1020"/>
                    <a:gd name="T7" fmla="*/ 321 h 764"/>
                    <a:gd name="T8" fmla="*/ 428 w 1020"/>
                    <a:gd name="T9" fmla="*/ 360 h 764"/>
                    <a:gd name="T10" fmla="*/ 462 w 1020"/>
                    <a:gd name="T11" fmla="*/ 389 h 764"/>
                    <a:gd name="T12" fmla="*/ 464 w 1020"/>
                    <a:gd name="T13" fmla="*/ 537 h 764"/>
                    <a:gd name="T14" fmla="*/ 482 w 1020"/>
                    <a:gd name="T15" fmla="*/ 559 h 764"/>
                    <a:gd name="T16" fmla="*/ 510 w 1020"/>
                    <a:gd name="T17" fmla="*/ 569 h 764"/>
                    <a:gd name="T18" fmla="*/ 539 w 1020"/>
                    <a:gd name="T19" fmla="*/ 559 h 764"/>
                    <a:gd name="T20" fmla="*/ 556 w 1020"/>
                    <a:gd name="T21" fmla="*/ 537 h 764"/>
                    <a:gd name="T22" fmla="*/ 558 w 1020"/>
                    <a:gd name="T23" fmla="*/ 389 h 764"/>
                    <a:gd name="T24" fmla="*/ 592 w 1020"/>
                    <a:gd name="T25" fmla="*/ 360 h 764"/>
                    <a:gd name="T26" fmla="*/ 611 w 1020"/>
                    <a:gd name="T27" fmla="*/ 321 h 764"/>
                    <a:gd name="T28" fmla="*/ 610 w 1020"/>
                    <a:gd name="T29" fmla="*/ 271 h 764"/>
                    <a:gd name="T30" fmla="*/ 583 w 1020"/>
                    <a:gd name="T31" fmla="*/ 225 h 764"/>
                    <a:gd name="T32" fmla="*/ 538 w 1020"/>
                    <a:gd name="T33" fmla="*/ 199 h 764"/>
                    <a:gd name="T34" fmla="*/ 94 w 1020"/>
                    <a:gd name="T35" fmla="*/ 0 h 764"/>
                    <a:gd name="T36" fmla="*/ 951 w 1020"/>
                    <a:gd name="T37" fmla="*/ 2 h 764"/>
                    <a:gd name="T38" fmla="*/ 992 w 1020"/>
                    <a:gd name="T39" fmla="*/ 27 h 764"/>
                    <a:gd name="T40" fmla="*/ 1016 w 1020"/>
                    <a:gd name="T41" fmla="*/ 69 h 764"/>
                    <a:gd name="T42" fmla="*/ 1020 w 1020"/>
                    <a:gd name="T43" fmla="*/ 670 h 764"/>
                    <a:gd name="T44" fmla="*/ 1008 w 1020"/>
                    <a:gd name="T45" fmla="*/ 717 h 764"/>
                    <a:gd name="T46" fmla="*/ 974 w 1020"/>
                    <a:gd name="T47" fmla="*/ 751 h 764"/>
                    <a:gd name="T48" fmla="*/ 926 w 1020"/>
                    <a:gd name="T49" fmla="*/ 764 h 764"/>
                    <a:gd name="T50" fmla="*/ 69 w 1020"/>
                    <a:gd name="T51" fmla="*/ 760 h 764"/>
                    <a:gd name="T52" fmla="*/ 28 w 1020"/>
                    <a:gd name="T53" fmla="*/ 736 h 764"/>
                    <a:gd name="T54" fmla="*/ 4 w 1020"/>
                    <a:gd name="T55" fmla="*/ 695 h 764"/>
                    <a:gd name="T56" fmla="*/ 0 w 1020"/>
                    <a:gd name="T57" fmla="*/ 94 h 764"/>
                    <a:gd name="T58" fmla="*/ 13 w 1020"/>
                    <a:gd name="T59" fmla="*/ 46 h 764"/>
                    <a:gd name="T60" fmla="*/ 47 w 1020"/>
                    <a:gd name="T61" fmla="*/ 12 h 764"/>
                    <a:gd name="T62" fmla="*/ 94 w 1020"/>
                    <a:gd name="T63" fmla="*/ 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0" h="764">
                      <a:moveTo>
                        <a:pt x="510" y="195"/>
                      </a:moveTo>
                      <a:lnTo>
                        <a:pt x="482" y="199"/>
                      </a:lnTo>
                      <a:lnTo>
                        <a:pt x="458" y="208"/>
                      </a:lnTo>
                      <a:lnTo>
                        <a:pt x="437" y="225"/>
                      </a:lnTo>
                      <a:lnTo>
                        <a:pt x="421" y="246"/>
                      </a:lnTo>
                      <a:lnTo>
                        <a:pt x="410" y="271"/>
                      </a:lnTo>
                      <a:lnTo>
                        <a:pt x="407" y="298"/>
                      </a:lnTo>
                      <a:lnTo>
                        <a:pt x="409" y="321"/>
                      </a:lnTo>
                      <a:lnTo>
                        <a:pt x="417" y="342"/>
                      </a:lnTo>
                      <a:lnTo>
                        <a:pt x="428" y="360"/>
                      </a:lnTo>
                      <a:lnTo>
                        <a:pt x="444" y="375"/>
                      </a:lnTo>
                      <a:lnTo>
                        <a:pt x="462" y="389"/>
                      </a:lnTo>
                      <a:lnTo>
                        <a:pt x="462" y="521"/>
                      </a:lnTo>
                      <a:lnTo>
                        <a:pt x="464" y="537"/>
                      </a:lnTo>
                      <a:lnTo>
                        <a:pt x="471" y="550"/>
                      </a:lnTo>
                      <a:lnTo>
                        <a:pt x="482" y="559"/>
                      </a:lnTo>
                      <a:lnTo>
                        <a:pt x="494" y="567"/>
                      </a:lnTo>
                      <a:lnTo>
                        <a:pt x="510" y="569"/>
                      </a:lnTo>
                      <a:lnTo>
                        <a:pt x="526" y="567"/>
                      </a:lnTo>
                      <a:lnTo>
                        <a:pt x="539" y="559"/>
                      </a:lnTo>
                      <a:lnTo>
                        <a:pt x="548" y="550"/>
                      </a:lnTo>
                      <a:lnTo>
                        <a:pt x="556" y="537"/>
                      </a:lnTo>
                      <a:lnTo>
                        <a:pt x="558" y="521"/>
                      </a:lnTo>
                      <a:lnTo>
                        <a:pt x="558" y="389"/>
                      </a:lnTo>
                      <a:lnTo>
                        <a:pt x="576" y="375"/>
                      </a:lnTo>
                      <a:lnTo>
                        <a:pt x="592" y="360"/>
                      </a:lnTo>
                      <a:lnTo>
                        <a:pt x="604" y="342"/>
                      </a:lnTo>
                      <a:lnTo>
                        <a:pt x="611" y="321"/>
                      </a:lnTo>
                      <a:lnTo>
                        <a:pt x="613" y="298"/>
                      </a:lnTo>
                      <a:lnTo>
                        <a:pt x="610" y="271"/>
                      </a:lnTo>
                      <a:lnTo>
                        <a:pt x="599" y="246"/>
                      </a:lnTo>
                      <a:lnTo>
                        <a:pt x="583" y="225"/>
                      </a:lnTo>
                      <a:lnTo>
                        <a:pt x="563" y="208"/>
                      </a:lnTo>
                      <a:lnTo>
                        <a:pt x="538" y="199"/>
                      </a:lnTo>
                      <a:lnTo>
                        <a:pt x="510" y="195"/>
                      </a:lnTo>
                      <a:close/>
                      <a:moveTo>
                        <a:pt x="94" y="0"/>
                      </a:moveTo>
                      <a:lnTo>
                        <a:pt x="926" y="0"/>
                      </a:lnTo>
                      <a:lnTo>
                        <a:pt x="951" y="2"/>
                      </a:lnTo>
                      <a:lnTo>
                        <a:pt x="974" y="12"/>
                      </a:lnTo>
                      <a:lnTo>
                        <a:pt x="992" y="27"/>
                      </a:lnTo>
                      <a:lnTo>
                        <a:pt x="1008" y="46"/>
                      </a:lnTo>
                      <a:lnTo>
                        <a:pt x="1016" y="69"/>
                      </a:lnTo>
                      <a:lnTo>
                        <a:pt x="1020" y="94"/>
                      </a:lnTo>
                      <a:lnTo>
                        <a:pt x="1020" y="670"/>
                      </a:lnTo>
                      <a:lnTo>
                        <a:pt x="1016" y="695"/>
                      </a:lnTo>
                      <a:lnTo>
                        <a:pt x="1008" y="717"/>
                      </a:lnTo>
                      <a:lnTo>
                        <a:pt x="992" y="736"/>
                      </a:lnTo>
                      <a:lnTo>
                        <a:pt x="974" y="751"/>
                      </a:lnTo>
                      <a:lnTo>
                        <a:pt x="951" y="760"/>
                      </a:lnTo>
                      <a:lnTo>
                        <a:pt x="926" y="764"/>
                      </a:lnTo>
                      <a:lnTo>
                        <a:pt x="94" y="764"/>
                      </a:lnTo>
                      <a:lnTo>
                        <a:pt x="69" y="760"/>
                      </a:lnTo>
                      <a:lnTo>
                        <a:pt x="47" y="751"/>
                      </a:lnTo>
                      <a:lnTo>
                        <a:pt x="28" y="736"/>
                      </a:lnTo>
                      <a:lnTo>
                        <a:pt x="13" y="717"/>
                      </a:lnTo>
                      <a:lnTo>
                        <a:pt x="4" y="695"/>
                      </a:lnTo>
                      <a:lnTo>
                        <a:pt x="0" y="670"/>
                      </a:lnTo>
                      <a:lnTo>
                        <a:pt x="0" y="94"/>
                      </a:lnTo>
                      <a:lnTo>
                        <a:pt x="4" y="69"/>
                      </a:lnTo>
                      <a:lnTo>
                        <a:pt x="13" y="46"/>
                      </a:lnTo>
                      <a:lnTo>
                        <a:pt x="28" y="27"/>
                      </a:lnTo>
                      <a:lnTo>
                        <a:pt x="47" y="12"/>
                      </a:lnTo>
                      <a:lnTo>
                        <a:pt x="69" y="2"/>
                      </a:lnTo>
                      <a:lnTo>
                        <a:pt x="94" y="0"/>
                      </a:lnTo>
                      <a:close/>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sp>
              <p:nvSpPr>
                <p:cNvPr id="67612" name="Freeform 43"/>
                <p:cNvSpPr>
                  <a:spLocks/>
                </p:cNvSpPr>
                <p:nvPr/>
              </p:nvSpPr>
              <p:spPr bwMode="auto">
                <a:xfrm>
                  <a:off x="-6073776" y="2241551"/>
                  <a:ext cx="582613" cy="604838"/>
                </a:xfrm>
                <a:custGeom>
                  <a:avLst/>
                  <a:gdLst>
                    <a:gd name="T0" fmla="*/ 367 w 733"/>
                    <a:gd name="T1" fmla="*/ 0 h 761"/>
                    <a:gd name="T2" fmla="*/ 411 w 733"/>
                    <a:gd name="T3" fmla="*/ 3 h 761"/>
                    <a:gd name="T4" fmla="*/ 454 w 733"/>
                    <a:gd name="T5" fmla="*/ 12 h 761"/>
                    <a:gd name="T6" fmla="*/ 498 w 733"/>
                    <a:gd name="T7" fmla="*/ 26 h 761"/>
                    <a:gd name="T8" fmla="*/ 541 w 733"/>
                    <a:gd name="T9" fmla="*/ 46 h 761"/>
                    <a:gd name="T10" fmla="*/ 580 w 733"/>
                    <a:gd name="T11" fmla="*/ 71 h 761"/>
                    <a:gd name="T12" fmla="*/ 616 w 733"/>
                    <a:gd name="T13" fmla="*/ 100 h 761"/>
                    <a:gd name="T14" fmla="*/ 647 w 733"/>
                    <a:gd name="T15" fmla="*/ 132 h 761"/>
                    <a:gd name="T16" fmla="*/ 673 w 733"/>
                    <a:gd name="T17" fmla="*/ 168 h 761"/>
                    <a:gd name="T18" fmla="*/ 695 w 733"/>
                    <a:gd name="T19" fmla="*/ 207 h 761"/>
                    <a:gd name="T20" fmla="*/ 712 w 733"/>
                    <a:gd name="T21" fmla="*/ 246 h 761"/>
                    <a:gd name="T22" fmla="*/ 724 w 733"/>
                    <a:gd name="T23" fmla="*/ 290 h 761"/>
                    <a:gd name="T24" fmla="*/ 732 w 733"/>
                    <a:gd name="T25" fmla="*/ 333 h 761"/>
                    <a:gd name="T26" fmla="*/ 733 w 733"/>
                    <a:gd name="T27" fmla="*/ 376 h 761"/>
                    <a:gd name="T28" fmla="*/ 731 w 733"/>
                    <a:gd name="T29" fmla="*/ 421 h 761"/>
                    <a:gd name="T30" fmla="*/ 723 w 733"/>
                    <a:gd name="T31" fmla="*/ 465 h 761"/>
                    <a:gd name="T32" fmla="*/ 708 w 733"/>
                    <a:gd name="T33" fmla="*/ 509 h 761"/>
                    <a:gd name="T34" fmla="*/ 688 w 733"/>
                    <a:gd name="T35" fmla="*/ 551 h 761"/>
                    <a:gd name="T36" fmla="*/ 574 w 733"/>
                    <a:gd name="T37" fmla="*/ 761 h 761"/>
                    <a:gd name="T38" fmla="*/ 470 w 733"/>
                    <a:gd name="T39" fmla="*/ 705 h 761"/>
                    <a:gd name="T40" fmla="*/ 584 w 733"/>
                    <a:gd name="T41" fmla="*/ 494 h 761"/>
                    <a:gd name="T42" fmla="*/ 600 w 733"/>
                    <a:gd name="T43" fmla="*/ 461 h 761"/>
                    <a:gd name="T44" fmla="*/ 611 w 733"/>
                    <a:gd name="T45" fmla="*/ 424 h 761"/>
                    <a:gd name="T46" fmla="*/ 616 w 733"/>
                    <a:gd name="T47" fmla="*/ 390 h 761"/>
                    <a:gd name="T48" fmla="*/ 614 w 733"/>
                    <a:gd name="T49" fmla="*/ 353 h 761"/>
                    <a:gd name="T50" fmla="*/ 610 w 733"/>
                    <a:gd name="T51" fmla="*/ 319 h 761"/>
                    <a:gd name="T52" fmla="*/ 600 w 733"/>
                    <a:gd name="T53" fmla="*/ 284 h 761"/>
                    <a:gd name="T54" fmla="*/ 586 w 733"/>
                    <a:gd name="T55" fmla="*/ 252 h 761"/>
                    <a:gd name="T56" fmla="*/ 566 w 733"/>
                    <a:gd name="T57" fmla="*/ 221 h 761"/>
                    <a:gd name="T58" fmla="*/ 542 w 733"/>
                    <a:gd name="T59" fmla="*/ 195 h 761"/>
                    <a:gd name="T60" fmla="*/ 516 w 733"/>
                    <a:gd name="T61" fmla="*/ 171 h 761"/>
                    <a:gd name="T62" fmla="*/ 483 w 733"/>
                    <a:gd name="T63" fmla="*/ 150 h 761"/>
                    <a:gd name="T64" fmla="*/ 450 w 733"/>
                    <a:gd name="T65" fmla="*/ 135 h 761"/>
                    <a:gd name="T66" fmla="*/ 415 w 733"/>
                    <a:gd name="T67" fmla="*/ 124 h 761"/>
                    <a:gd name="T68" fmla="*/ 379 w 733"/>
                    <a:gd name="T69" fmla="*/ 119 h 761"/>
                    <a:gd name="T70" fmla="*/ 343 w 733"/>
                    <a:gd name="T71" fmla="*/ 119 h 761"/>
                    <a:gd name="T72" fmla="*/ 308 w 733"/>
                    <a:gd name="T73" fmla="*/ 125 h 761"/>
                    <a:gd name="T74" fmla="*/ 274 w 733"/>
                    <a:gd name="T75" fmla="*/ 135 h 761"/>
                    <a:gd name="T76" fmla="*/ 242 w 733"/>
                    <a:gd name="T77" fmla="*/ 149 h 761"/>
                    <a:gd name="T78" fmla="*/ 212 w 733"/>
                    <a:gd name="T79" fmla="*/ 168 h 761"/>
                    <a:gd name="T80" fmla="*/ 184 w 733"/>
                    <a:gd name="T81" fmla="*/ 191 h 761"/>
                    <a:gd name="T82" fmla="*/ 160 w 733"/>
                    <a:gd name="T83" fmla="*/ 219 h 761"/>
                    <a:gd name="T84" fmla="*/ 139 w 733"/>
                    <a:gd name="T85" fmla="*/ 250 h 761"/>
                    <a:gd name="T86" fmla="*/ 103 w 733"/>
                    <a:gd name="T87" fmla="*/ 316 h 761"/>
                    <a:gd name="T88" fmla="*/ 0 w 733"/>
                    <a:gd name="T89" fmla="*/ 260 h 761"/>
                    <a:gd name="T90" fmla="*/ 36 w 733"/>
                    <a:gd name="T91" fmla="*/ 193 h 761"/>
                    <a:gd name="T92" fmla="*/ 60 w 733"/>
                    <a:gd name="T93" fmla="*/ 154 h 761"/>
                    <a:gd name="T94" fmla="*/ 90 w 733"/>
                    <a:gd name="T95" fmla="*/ 119 h 761"/>
                    <a:gd name="T96" fmla="*/ 123 w 733"/>
                    <a:gd name="T97" fmla="*/ 88 h 761"/>
                    <a:gd name="T98" fmla="*/ 157 w 733"/>
                    <a:gd name="T99" fmla="*/ 61 h 761"/>
                    <a:gd name="T100" fmla="*/ 196 w 733"/>
                    <a:gd name="T101" fmla="*/ 39 h 761"/>
                    <a:gd name="T102" fmla="*/ 237 w 733"/>
                    <a:gd name="T103" fmla="*/ 23 h 761"/>
                    <a:gd name="T104" fmla="*/ 279 w 733"/>
                    <a:gd name="T105" fmla="*/ 9 h 761"/>
                    <a:gd name="T106" fmla="*/ 322 w 733"/>
                    <a:gd name="T107" fmla="*/ 2 h 761"/>
                    <a:gd name="T108" fmla="*/ 367 w 733"/>
                    <a:gd name="T109" fmla="*/ 0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3" h="761">
                      <a:moveTo>
                        <a:pt x="367" y="0"/>
                      </a:moveTo>
                      <a:lnTo>
                        <a:pt x="411" y="3"/>
                      </a:lnTo>
                      <a:lnTo>
                        <a:pt x="454" y="12"/>
                      </a:lnTo>
                      <a:lnTo>
                        <a:pt x="498" y="26"/>
                      </a:lnTo>
                      <a:lnTo>
                        <a:pt x="541" y="46"/>
                      </a:lnTo>
                      <a:lnTo>
                        <a:pt x="580" y="71"/>
                      </a:lnTo>
                      <a:lnTo>
                        <a:pt x="616" y="100"/>
                      </a:lnTo>
                      <a:lnTo>
                        <a:pt x="647" y="132"/>
                      </a:lnTo>
                      <a:lnTo>
                        <a:pt x="673" y="168"/>
                      </a:lnTo>
                      <a:lnTo>
                        <a:pt x="695" y="207"/>
                      </a:lnTo>
                      <a:lnTo>
                        <a:pt x="712" y="246"/>
                      </a:lnTo>
                      <a:lnTo>
                        <a:pt x="724" y="290"/>
                      </a:lnTo>
                      <a:lnTo>
                        <a:pt x="732" y="333"/>
                      </a:lnTo>
                      <a:lnTo>
                        <a:pt x="733" y="376"/>
                      </a:lnTo>
                      <a:lnTo>
                        <a:pt x="731" y="421"/>
                      </a:lnTo>
                      <a:lnTo>
                        <a:pt x="723" y="465"/>
                      </a:lnTo>
                      <a:lnTo>
                        <a:pt x="708" y="509"/>
                      </a:lnTo>
                      <a:lnTo>
                        <a:pt x="688" y="551"/>
                      </a:lnTo>
                      <a:lnTo>
                        <a:pt x="574" y="761"/>
                      </a:lnTo>
                      <a:lnTo>
                        <a:pt x="470" y="705"/>
                      </a:lnTo>
                      <a:lnTo>
                        <a:pt x="584" y="494"/>
                      </a:lnTo>
                      <a:lnTo>
                        <a:pt x="600" y="461"/>
                      </a:lnTo>
                      <a:lnTo>
                        <a:pt x="611" y="424"/>
                      </a:lnTo>
                      <a:lnTo>
                        <a:pt x="616" y="390"/>
                      </a:lnTo>
                      <a:lnTo>
                        <a:pt x="614" y="353"/>
                      </a:lnTo>
                      <a:lnTo>
                        <a:pt x="610" y="319"/>
                      </a:lnTo>
                      <a:lnTo>
                        <a:pt x="600" y="284"/>
                      </a:lnTo>
                      <a:lnTo>
                        <a:pt x="586" y="252"/>
                      </a:lnTo>
                      <a:lnTo>
                        <a:pt x="566" y="221"/>
                      </a:lnTo>
                      <a:lnTo>
                        <a:pt x="542" y="195"/>
                      </a:lnTo>
                      <a:lnTo>
                        <a:pt x="516" y="171"/>
                      </a:lnTo>
                      <a:lnTo>
                        <a:pt x="483" y="150"/>
                      </a:lnTo>
                      <a:lnTo>
                        <a:pt x="450" y="135"/>
                      </a:lnTo>
                      <a:lnTo>
                        <a:pt x="415" y="124"/>
                      </a:lnTo>
                      <a:lnTo>
                        <a:pt x="379" y="119"/>
                      </a:lnTo>
                      <a:lnTo>
                        <a:pt x="343" y="119"/>
                      </a:lnTo>
                      <a:lnTo>
                        <a:pt x="308" y="125"/>
                      </a:lnTo>
                      <a:lnTo>
                        <a:pt x="274" y="135"/>
                      </a:lnTo>
                      <a:lnTo>
                        <a:pt x="242" y="149"/>
                      </a:lnTo>
                      <a:lnTo>
                        <a:pt x="212" y="168"/>
                      </a:lnTo>
                      <a:lnTo>
                        <a:pt x="184" y="191"/>
                      </a:lnTo>
                      <a:lnTo>
                        <a:pt x="160" y="219"/>
                      </a:lnTo>
                      <a:lnTo>
                        <a:pt x="139" y="250"/>
                      </a:lnTo>
                      <a:lnTo>
                        <a:pt x="103" y="316"/>
                      </a:lnTo>
                      <a:lnTo>
                        <a:pt x="0" y="260"/>
                      </a:lnTo>
                      <a:lnTo>
                        <a:pt x="36" y="193"/>
                      </a:lnTo>
                      <a:lnTo>
                        <a:pt x="60" y="154"/>
                      </a:lnTo>
                      <a:lnTo>
                        <a:pt x="90" y="119"/>
                      </a:lnTo>
                      <a:lnTo>
                        <a:pt x="123" y="88"/>
                      </a:lnTo>
                      <a:lnTo>
                        <a:pt x="157" y="61"/>
                      </a:lnTo>
                      <a:lnTo>
                        <a:pt x="196" y="39"/>
                      </a:lnTo>
                      <a:lnTo>
                        <a:pt x="237" y="23"/>
                      </a:lnTo>
                      <a:lnTo>
                        <a:pt x="279" y="9"/>
                      </a:lnTo>
                      <a:lnTo>
                        <a:pt x="322" y="2"/>
                      </a:lnTo>
                      <a:lnTo>
                        <a:pt x="367" y="0"/>
                      </a:lnTo>
                      <a:close/>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grpSp>
          <p:sp>
            <p:nvSpPr>
              <p:cNvPr id="112" name="Rounded Rectangle 111"/>
              <p:cNvSpPr/>
              <p:nvPr/>
            </p:nvSpPr>
            <p:spPr>
              <a:xfrm>
                <a:off x="3192980" y="2907408"/>
                <a:ext cx="584553" cy="86437"/>
              </a:xfrm>
              <a:prstGeom prst="roundRect">
                <a:avLst>
                  <a:gd name="adj" fmla="val 50000"/>
                </a:avLst>
              </a:prstGeom>
              <a:solidFill>
                <a:srgbClr val="7FBA00"/>
              </a:solidFill>
              <a:ln>
                <a:noFill/>
              </a:ln>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sng" strike="noStrike" kern="1200" cap="none" spc="0" normalizeH="0" baseline="0" noProof="0" dirty="0">
                  <a:ln>
                    <a:noFill/>
                  </a:ln>
                  <a:solidFill>
                    <a:srgbClr val="FFFFFF"/>
                  </a:solidFill>
                  <a:effectLst/>
                  <a:uLnTx/>
                  <a:uFillTx/>
                  <a:latin typeface="Segoe UI"/>
                  <a:ea typeface="+mn-ea"/>
                  <a:cs typeface="Segoe UI Light"/>
                </a:endParaRPr>
              </a:p>
            </p:txBody>
          </p:sp>
          <p:sp>
            <p:nvSpPr>
              <p:cNvPr id="113" name="Rounded Rectangle 112"/>
              <p:cNvSpPr/>
              <p:nvPr/>
            </p:nvSpPr>
            <p:spPr>
              <a:xfrm>
                <a:off x="3192980" y="2727723"/>
                <a:ext cx="584553" cy="86437"/>
              </a:xfrm>
              <a:prstGeom prst="roundRect">
                <a:avLst>
                  <a:gd name="adj" fmla="val 50000"/>
                </a:avLst>
              </a:prstGeom>
              <a:solidFill>
                <a:srgbClr val="7FBA00"/>
              </a:solidFill>
              <a:ln>
                <a:noFill/>
              </a:ln>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sng" strike="noStrike" kern="1200" cap="none" spc="0" normalizeH="0" baseline="0" noProof="0" dirty="0">
                  <a:ln>
                    <a:noFill/>
                  </a:ln>
                  <a:solidFill>
                    <a:srgbClr val="FFFFFF"/>
                  </a:solidFill>
                  <a:effectLst/>
                  <a:uLnTx/>
                  <a:uFillTx/>
                  <a:latin typeface="Segoe UI"/>
                  <a:ea typeface="+mn-ea"/>
                  <a:cs typeface="Segoe UI Light"/>
                </a:endParaRPr>
              </a:p>
            </p:txBody>
          </p:sp>
          <p:sp>
            <p:nvSpPr>
              <p:cNvPr id="114" name="Rounded Rectangle 113"/>
              <p:cNvSpPr/>
              <p:nvPr/>
            </p:nvSpPr>
            <p:spPr>
              <a:xfrm>
                <a:off x="3192980" y="2548038"/>
                <a:ext cx="584553" cy="86437"/>
              </a:xfrm>
              <a:prstGeom prst="roundRect">
                <a:avLst>
                  <a:gd name="adj" fmla="val 50000"/>
                </a:avLst>
              </a:prstGeom>
              <a:solidFill>
                <a:srgbClr val="7FBA00"/>
              </a:solidFill>
              <a:ln>
                <a:noFill/>
              </a:ln>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sng" strike="noStrike" kern="1200" cap="none" spc="0" normalizeH="0" baseline="0" noProof="0" dirty="0">
                  <a:ln>
                    <a:noFill/>
                  </a:ln>
                  <a:solidFill>
                    <a:srgbClr val="FFFFFF"/>
                  </a:solidFill>
                  <a:effectLst/>
                  <a:uLnTx/>
                  <a:uFillTx/>
                  <a:latin typeface="Segoe UI"/>
                  <a:ea typeface="+mn-ea"/>
                  <a:cs typeface="Segoe UI Light"/>
                </a:endParaRPr>
              </a:p>
            </p:txBody>
          </p:sp>
          <p:sp>
            <p:nvSpPr>
              <p:cNvPr id="115" name="Rounded Rectangle 114"/>
              <p:cNvSpPr/>
              <p:nvPr/>
            </p:nvSpPr>
            <p:spPr>
              <a:xfrm>
                <a:off x="3192980" y="3087094"/>
                <a:ext cx="584553" cy="86437"/>
              </a:xfrm>
              <a:prstGeom prst="roundRect">
                <a:avLst>
                  <a:gd name="adj" fmla="val 50000"/>
                </a:avLst>
              </a:prstGeom>
              <a:solidFill>
                <a:srgbClr val="7FBA00"/>
              </a:solidFill>
              <a:ln>
                <a:noFill/>
              </a:ln>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sng" strike="noStrike" kern="1200" cap="none" spc="0" normalizeH="0" baseline="0" noProof="0" dirty="0">
                  <a:ln>
                    <a:noFill/>
                  </a:ln>
                  <a:solidFill>
                    <a:srgbClr val="FFFFFF"/>
                  </a:solidFill>
                  <a:effectLst/>
                  <a:uLnTx/>
                  <a:uFillTx/>
                  <a:latin typeface="Segoe UI"/>
                  <a:ea typeface="+mn-ea"/>
                  <a:cs typeface="Segoe UI Light"/>
                </a:endParaRPr>
              </a:p>
            </p:txBody>
          </p:sp>
        </p:grpSp>
      </p:grpSp>
      <p:grpSp>
        <p:nvGrpSpPr>
          <p:cNvPr id="43" name="Group 42"/>
          <p:cNvGrpSpPr/>
          <p:nvPr/>
        </p:nvGrpSpPr>
        <p:grpSpPr>
          <a:xfrm>
            <a:off x="2758269" y="3706739"/>
            <a:ext cx="2277738" cy="2115435"/>
            <a:chOff x="2813578" y="3780570"/>
            <a:chExt cx="2323412" cy="2157854"/>
          </a:xfrm>
        </p:grpSpPr>
        <p:sp>
          <p:nvSpPr>
            <p:cNvPr id="5" name="Rectangle 4"/>
            <p:cNvSpPr/>
            <p:nvPr/>
          </p:nvSpPr>
          <p:spPr bwMode="auto">
            <a:xfrm flipV="1">
              <a:off x="2813578" y="3780570"/>
              <a:ext cx="2279286" cy="2157854"/>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p:nvSpPr>
          <p:spPr>
            <a:xfrm>
              <a:off x="2980885" y="4959086"/>
              <a:ext cx="2135832" cy="830997"/>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Segoe UI Light"/>
                </a:rPr>
                <a:t>individual records were breached in 2017.</a:t>
              </a:r>
              <a:r>
                <a:rPr kumimoji="0" lang="en-US" sz="1568" b="0" i="0" u="none" strike="noStrike" kern="1200" cap="none" spc="0" normalizeH="0" baseline="30000" noProof="0" dirty="0">
                  <a:ln>
                    <a:noFill/>
                  </a:ln>
                  <a:solidFill>
                    <a:srgbClr val="FFFFFF"/>
                  </a:solidFill>
                  <a:effectLst/>
                  <a:uLnTx/>
                  <a:uFillTx/>
                  <a:latin typeface="Segoe UI"/>
                  <a:ea typeface="+mn-ea"/>
                  <a:cs typeface="Segoe UI Light"/>
                </a:rPr>
                <a:t>4</a:t>
              </a:r>
            </a:p>
          </p:txBody>
        </p:sp>
        <p:sp>
          <p:nvSpPr>
            <p:cNvPr id="8" name="Rectangle 7"/>
            <p:cNvSpPr/>
            <p:nvPr/>
          </p:nvSpPr>
          <p:spPr>
            <a:xfrm>
              <a:off x="2974188" y="3962624"/>
              <a:ext cx="1255335" cy="340307"/>
            </a:xfrm>
            <a:prstGeom prst="rect">
              <a:avLst/>
            </a:prstGeom>
          </p:spPr>
          <p:txBody>
            <a:bodyPr wrap="non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568" b="1" i="0" u="none" strike="noStrike" kern="1200" cap="none" spc="0" normalizeH="0" baseline="0" noProof="0" dirty="0">
                  <a:ln>
                    <a:noFill/>
                  </a:ln>
                  <a:solidFill>
                    <a:srgbClr val="FFFFFF"/>
                  </a:solidFill>
                  <a:effectLst/>
                  <a:uLnTx/>
                  <a:uFillTx/>
                  <a:latin typeface="Segoe UI"/>
                  <a:ea typeface="+mn-ea"/>
                  <a:cs typeface="+mn-cs"/>
                </a:rPr>
                <a:t>More than </a:t>
              </a:r>
              <a:endParaRPr kumimoji="0" lang="en-US" sz="1372" b="1"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Rectangle 8"/>
            <p:cNvSpPr/>
            <p:nvPr/>
          </p:nvSpPr>
          <p:spPr>
            <a:xfrm>
              <a:off x="2936737" y="4054312"/>
              <a:ext cx="2200253" cy="1109807"/>
            </a:xfrm>
            <a:prstGeom prst="rect">
              <a:avLst/>
            </a:prstGeom>
          </p:spPr>
          <p:txBody>
            <a:bodyPr wrap="non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6470" b="0" i="0" u="none" strike="noStrike" kern="1200" cap="none" spc="-294" normalizeH="0" baseline="0" noProof="0" dirty="0">
                  <a:ln>
                    <a:noFill/>
                  </a:ln>
                  <a:solidFill>
                    <a:srgbClr val="FFFFFF"/>
                  </a:solidFill>
                  <a:effectLst/>
                  <a:uLnTx/>
                  <a:uFillTx/>
                  <a:latin typeface="Segoe UI Light"/>
                  <a:ea typeface="+mn-ea"/>
                  <a:cs typeface="+mn-cs"/>
                </a:rPr>
                <a:t>900M</a:t>
              </a:r>
              <a:r>
                <a:rPr kumimoji="0" lang="en-US" sz="5294" b="0" i="0" u="none" strike="noStrike" kern="1200" cap="none" spc="-294" normalizeH="0" baseline="0" noProof="0" dirty="0">
                  <a:ln>
                    <a:noFill/>
                  </a:ln>
                  <a:solidFill>
                    <a:srgbClr val="FFFFFF"/>
                  </a:solidFill>
                  <a:effectLst/>
                  <a:uLnTx/>
                  <a:uFillTx/>
                  <a:latin typeface="Segoe UI Light"/>
                  <a:ea typeface="+mn-ea"/>
                  <a:cs typeface="+mn-cs"/>
                </a:rPr>
                <a:t> </a:t>
              </a:r>
              <a:endParaRPr kumimoji="0" lang="en-US" sz="4705" b="0" i="0" u="none" strike="noStrike" kern="1200" cap="none" spc="-294" normalizeH="0" baseline="0" noProof="0" dirty="0">
                <a:ln>
                  <a:noFill/>
                </a:ln>
                <a:solidFill>
                  <a:srgbClr val="505050"/>
                </a:solidFill>
                <a:effectLst/>
                <a:uLnTx/>
                <a:uFillTx/>
                <a:latin typeface="Segoe UI Light"/>
                <a:ea typeface="+mn-ea"/>
                <a:cs typeface="+mn-cs"/>
              </a:endParaRPr>
            </a:p>
          </p:txBody>
        </p:sp>
      </p:grpSp>
      <p:grpSp>
        <p:nvGrpSpPr>
          <p:cNvPr id="3" name="Group 2"/>
          <p:cNvGrpSpPr/>
          <p:nvPr/>
        </p:nvGrpSpPr>
        <p:grpSpPr>
          <a:xfrm>
            <a:off x="7226772" y="3706739"/>
            <a:ext cx="2244424" cy="2115435"/>
            <a:chOff x="7371683" y="3780570"/>
            <a:chExt cx="2289429" cy="2157854"/>
          </a:xfrm>
        </p:grpSpPr>
        <p:sp>
          <p:nvSpPr>
            <p:cNvPr id="15" name="Rectangle 14"/>
            <p:cNvSpPr/>
            <p:nvPr/>
          </p:nvSpPr>
          <p:spPr bwMode="auto">
            <a:xfrm flipV="1">
              <a:off x="7371683" y="3780570"/>
              <a:ext cx="2279286" cy="2157854"/>
            </a:xfrm>
            <a:prstGeom prst="rect">
              <a:avLst/>
            </a:prstGeom>
            <a:solidFill>
              <a:srgbClr val="43820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tangle 24"/>
            <p:cNvSpPr/>
            <p:nvPr/>
          </p:nvSpPr>
          <p:spPr>
            <a:xfrm>
              <a:off x="8774931" y="4804509"/>
              <a:ext cx="886181" cy="307777"/>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a:ea typeface="+mn-ea"/>
                  <a:cs typeface="+mn-cs"/>
                </a:rPr>
                <a:t>in 2014.</a:t>
              </a:r>
              <a:r>
                <a:rPr kumimoji="0" lang="en-US" sz="1372" b="0" i="0" u="none" strike="noStrike" kern="1200" cap="none" spc="0" normalizeH="0" baseline="30000" noProof="0" dirty="0">
                  <a:ln>
                    <a:noFill/>
                  </a:ln>
                  <a:solidFill>
                    <a:srgbClr val="FFFFFF"/>
                  </a:solidFill>
                  <a:effectLst/>
                  <a:uLnTx/>
                  <a:uFillTx/>
                  <a:latin typeface="Segoe UI"/>
                  <a:ea typeface="+mn-ea"/>
                  <a:cs typeface="Segoe UI Light"/>
                </a:rPr>
                <a:t>3</a:t>
              </a:r>
              <a:endParaRPr kumimoji="0" lang="en-US"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 name="Rectangle 12"/>
            <p:cNvSpPr/>
            <p:nvPr/>
          </p:nvSpPr>
          <p:spPr>
            <a:xfrm>
              <a:off x="7442616" y="4012527"/>
              <a:ext cx="2129919" cy="830997"/>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Segoe UI Light"/>
                </a:rPr>
                <a:t>The number of recorded data breaches </a:t>
              </a:r>
              <a:r>
                <a:rPr kumimoji="0" lang="en-US" sz="1568" b="1" i="0" u="none" strike="noStrike" kern="1200" cap="none" spc="0" normalizeH="0" baseline="0" noProof="0" dirty="0">
                  <a:ln>
                    <a:noFill/>
                  </a:ln>
                  <a:solidFill>
                    <a:srgbClr val="FFFFFF"/>
                  </a:solidFill>
                  <a:effectLst/>
                  <a:uLnTx/>
                  <a:uFillTx/>
                  <a:latin typeface="Segoe UI"/>
                  <a:ea typeface="+mn-ea"/>
                  <a:cs typeface="Segoe UI Light"/>
                </a:rPr>
                <a:t>increased</a:t>
              </a:r>
            </a:p>
          </p:txBody>
        </p:sp>
        <p:sp>
          <p:nvSpPr>
            <p:cNvPr id="16" name="Rectangle 15"/>
            <p:cNvSpPr/>
            <p:nvPr/>
          </p:nvSpPr>
          <p:spPr>
            <a:xfrm>
              <a:off x="7399548" y="4644711"/>
              <a:ext cx="1803699" cy="1107996"/>
            </a:xfrm>
            <a:prstGeom prst="rect">
              <a:avLst/>
            </a:prstGeom>
          </p:spPr>
          <p:txBody>
            <a:bodyPr wrap="none">
              <a:spAutoFit/>
            </a:bodyPr>
            <a:lstStyle/>
            <a:p>
              <a:pPr marL="0" marR="0" lvl="0" indent="0" algn="ctr" defTabSz="896386" rtl="0" eaLnBrk="1" fontAlgn="base" latinLnBrk="0" hangingPunct="1">
                <a:lnSpc>
                  <a:spcPct val="100000"/>
                </a:lnSpc>
                <a:spcBef>
                  <a:spcPts val="0"/>
                </a:spcBef>
                <a:spcAft>
                  <a:spcPts val="0"/>
                </a:spcAft>
                <a:buClrTx/>
                <a:buSzTx/>
                <a:buFontTx/>
                <a:buNone/>
                <a:tabLst/>
                <a:defRPr/>
              </a:pPr>
              <a:r>
                <a:rPr kumimoji="0" lang="en-US" sz="6470" b="0" i="0" u="none" strike="noStrike" kern="1200" cap="none" spc="-294" normalizeH="0" baseline="0" noProof="0" dirty="0">
                  <a:ln>
                    <a:noFill/>
                  </a:ln>
                  <a:solidFill>
                    <a:srgbClr val="FFFFFF"/>
                  </a:solidFill>
                  <a:effectLst/>
                  <a:uLnTx/>
                  <a:uFillTx/>
                  <a:latin typeface="Segoe UI Light"/>
                  <a:ea typeface="+mn-ea"/>
                  <a:cs typeface="+mn-cs"/>
                </a:rPr>
                <a:t>78%</a:t>
              </a:r>
              <a:r>
                <a:rPr kumimoji="0" lang="en-US" sz="6470" b="0" i="0" u="none" strike="noStrike" kern="1200" cap="none" spc="-147" normalizeH="0" baseline="0" noProof="0" dirty="0">
                  <a:ln>
                    <a:noFill/>
                  </a:ln>
                  <a:solidFill>
                    <a:srgbClr val="FFFFFF"/>
                  </a:solidFill>
                  <a:effectLst/>
                  <a:uLnTx/>
                  <a:uFillTx/>
                  <a:latin typeface="Segoe UI Light"/>
                  <a:ea typeface="+mn-ea"/>
                  <a:cs typeface="+mn-cs"/>
                </a:rPr>
                <a:t> </a:t>
              </a:r>
            </a:p>
          </p:txBody>
        </p:sp>
      </p:grpSp>
      <p:grpSp>
        <p:nvGrpSpPr>
          <p:cNvPr id="45" name="Group 44"/>
          <p:cNvGrpSpPr/>
          <p:nvPr/>
        </p:nvGrpSpPr>
        <p:grpSpPr>
          <a:xfrm>
            <a:off x="4992749" y="1590805"/>
            <a:ext cx="2234480" cy="2115435"/>
            <a:chOff x="5092863" y="1622207"/>
            <a:chExt cx="2279286" cy="2157854"/>
          </a:xfrm>
        </p:grpSpPr>
        <p:sp>
          <p:nvSpPr>
            <p:cNvPr id="28" name="Rectangle 27"/>
            <p:cNvSpPr/>
            <p:nvPr/>
          </p:nvSpPr>
          <p:spPr bwMode="auto">
            <a:xfrm flipV="1">
              <a:off x="5092863" y="1622207"/>
              <a:ext cx="2279286" cy="2157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2" name="TextBox 21"/>
            <p:cNvSpPr txBox="1"/>
            <p:nvPr/>
          </p:nvSpPr>
          <p:spPr>
            <a:xfrm>
              <a:off x="5192183" y="2945209"/>
              <a:ext cx="2064736" cy="584775"/>
            </a:xfrm>
            <a:prstGeom prst="rect">
              <a:avLst/>
            </a:prstGeom>
          </p:spPr>
          <p:txBody>
            <a:bodyPr wrap="square">
              <a:spAutoFit/>
            </a:bodyPr>
            <a:lstStyle>
              <a:defPPr>
                <a:defRPr lang="en-GB"/>
              </a:defPPr>
              <a:lvl1pPr algn="l">
                <a:defRPr sz="1600">
                  <a:solidFill>
                    <a:srgbClr val="FFFFFF"/>
                  </a:solidFill>
                  <a:cs typeface="Segoe UI Light"/>
                </a:defRPr>
              </a:lvl1p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Segoe UI Light"/>
                </a:rPr>
                <a:t>of the value created by the Internet.</a:t>
              </a:r>
              <a:r>
                <a:rPr kumimoji="0" lang="en-US" sz="1568" b="0" i="0" u="none" strike="noStrike" kern="1200" cap="none" spc="0" normalizeH="0" baseline="30000" noProof="0" dirty="0">
                  <a:ln>
                    <a:noFill/>
                  </a:ln>
                  <a:solidFill>
                    <a:srgbClr val="FFFFFF"/>
                  </a:solidFill>
                  <a:effectLst/>
                  <a:uLnTx/>
                  <a:uFillTx/>
                  <a:latin typeface="Segoe UI"/>
                  <a:ea typeface="+mn-ea"/>
                  <a:cs typeface="Segoe UI Light"/>
                </a:rPr>
                <a:t>2</a:t>
              </a:r>
            </a:p>
          </p:txBody>
        </p:sp>
        <p:sp>
          <p:nvSpPr>
            <p:cNvPr id="46" name="Rectangle 45"/>
            <p:cNvSpPr/>
            <p:nvPr/>
          </p:nvSpPr>
          <p:spPr>
            <a:xfrm>
              <a:off x="5192183" y="1837501"/>
              <a:ext cx="1909847" cy="584775"/>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FFFFFF"/>
                  </a:solidFill>
                  <a:effectLst/>
                  <a:uLnTx/>
                  <a:uFillTx/>
                  <a:latin typeface="Segoe UI"/>
                  <a:ea typeface="+mn-ea"/>
                  <a:cs typeface="Segoe UI Light"/>
                </a:rPr>
                <a:t>Cybercrime extracts between </a:t>
              </a:r>
            </a:p>
          </p:txBody>
        </p:sp>
        <p:sp>
          <p:nvSpPr>
            <p:cNvPr id="49" name="Rectangle 48"/>
            <p:cNvSpPr/>
            <p:nvPr/>
          </p:nvSpPr>
          <p:spPr>
            <a:xfrm>
              <a:off x="5197220" y="2217594"/>
              <a:ext cx="2119274" cy="923330"/>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5294" b="0" i="0" u="none" strike="noStrike" kern="1200" cap="none" spc="-294" normalizeH="0" baseline="0" noProof="0" dirty="0">
                  <a:ln>
                    <a:noFill/>
                  </a:ln>
                  <a:solidFill>
                    <a:srgbClr val="FFFFFF"/>
                  </a:solidFill>
                  <a:effectLst/>
                  <a:uLnTx/>
                  <a:uFillTx/>
                  <a:latin typeface="Segoe UI Light"/>
                  <a:ea typeface="+mn-ea"/>
                  <a:cs typeface="+mn-cs"/>
                </a:rPr>
                <a:t>15-20%</a:t>
              </a:r>
            </a:p>
          </p:txBody>
        </p:sp>
      </p:grpSp>
      <p:grpSp>
        <p:nvGrpSpPr>
          <p:cNvPr id="94" name="Group 93"/>
          <p:cNvGrpSpPr/>
          <p:nvPr/>
        </p:nvGrpSpPr>
        <p:grpSpPr>
          <a:xfrm>
            <a:off x="4992749" y="3706739"/>
            <a:ext cx="2234480" cy="2115435"/>
            <a:chOff x="5092864" y="3780570"/>
            <a:chExt cx="2279286" cy="2157854"/>
          </a:xfrm>
        </p:grpSpPr>
        <p:sp>
          <p:nvSpPr>
            <p:cNvPr id="27" name="Rectangle 26"/>
            <p:cNvSpPr/>
            <p:nvPr/>
          </p:nvSpPr>
          <p:spPr bwMode="auto">
            <a:xfrm flipV="1">
              <a:off x="5092864" y="3780570"/>
              <a:ext cx="2279286" cy="21578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sng"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grpSp>
          <p:nvGrpSpPr>
            <p:cNvPr id="20" name="Group 19"/>
            <p:cNvGrpSpPr/>
            <p:nvPr/>
          </p:nvGrpSpPr>
          <p:grpSpPr>
            <a:xfrm>
              <a:off x="5534026" y="4271367"/>
              <a:ext cx="1417194" cy="1201772"/>
              <a:chOff x="5447630" y="4165626"/>
              <a:chExt cx="1664226" cy="1411253"/>
            </a:xfrm>
          </p:grpSpPr>
          <p:grpSp>
            <p:nvGrpSpPr>
              <p:cNvPr id="30" name="Group 29"/>
              <p:cNvGrpSpPr/>
              <p:nvPr/>
            </p:nvGrpSpPr>
            <p:grpSpPr>
              <a:xfrm>
                <a:off x="5863277" y="4332872"/>
                <a:ext cx="865939" cy="856265"/>
                <a:chOff x="-9472279" y="3980114"/>
                <a:chExt cx="5399087" cy="5338763"/>
              </a:xfrm>
              <a:solidFill>
                <a:schemeClr val="accent1"/>
              </a:solidFill>
            </p:grpSpPr>
            <p:sp>
              <p:nvSpPr>
                <p:cNvPr id="31" name="Freeform 15"/>
                <p:cNvSpPr>
                  <a:spLocks/>
                </p:cNvSpPr>
                <p:nvPr/>
              </p:nvSpPr>
              <p:spPr bwMode="auto">
                <a:xfrm>
                  <a:off x="-6724317" y="3981701"/>
                  <a:ext cx="2651125" cy="4181475"/>
                </a:xfrm>
                <a:custGeom>
                  <a:avLst/>
                  <a:gdLst>
                    <a:gd name="T0" fmla="*/ 178 w 1670"/>
                    <a:gd name="T1" fmla="*/ 8 h 2634"/>
                    <a:gd name="T2" fmla="*/ 531 w 1670"/>
                    <a:gd name="T3" fmla="*/ 211 h 2634"/>
                    <a:gd name="T4" fmla="*/ 884 w 1670"/>
                    <a:gd name="T5" fmla="*/ 416 h 2634"/>
                    <a:gd name="T6" fmla="*/ 900 w 1670"/>
                    <a:gd name="T7" fmla="*/ 440 h 2634"/>
                    <a:gd name="T8" fmla="*/ 918 w 1670"/>
                    <a:gd name="T9" fmla="*/ 858 h 2634"/>
                    <a:gd name="T10" fmla="*/ 936 w 1670"/>
                    <a:gd name="T11" fmla="*/ 1274 h 2634"/>
                    <a:gd name="T12" fmla="*/ 951 w 1670"/>
                    <a:gd name="T13" fmla="*/ 1299 h 2634"/>
                    <a:gd name="T14" fmla="*/ 1317 w 1670"/>
                    <a:gd name="T15" fmla="*/ 1531 h 2634"/>
                    <a:gd name="T16" fmla="*/ 1670 w 1670"/>
                    <a:gd name="T17" fmla="*/ 2634 h 2634"/>
                    <a:gd name="T18" fmla="*/ 1529 w 1670"/>
                    <a:gd name="T19" fmla="*/ 2135 h 2634"/>
                    <a:gd name="T20" fmla="*/ 1476 w 1670"/>
                    <a:gd name="T21" fmla="*/ 1956 h 2634"/>
                    <a:gd name="T22" fmla="*/ 1457 w 1670"/>
                    <a:gd name="T23" fmla="*/ 1934 h 2634"/>
                    <a:gd name="T24" fmla="*/ 1136 w 1670"/>
                    <a:gd name="T25" fmla="*/ 1791 h 2634"/>
                    <a:gd name="T26" fmla="*/ 812 w 1670"/>
                    <a:gd name="T27" fmla="*/ 1652 h 2634"/>
                    <a:gd name="T28" fmla="*/ 783 w 1670"/>
                    <a:gd name="T29" fmla="*/ 1656 h 2634"/>
                    <a:gd name="T30" fmla="*/ 554 w 1670"/>
                    <a:gd name="T31" fmla="*/ 1827 h 2634"/>
                    <a:gd name="T32" fmla="*/ 329 w 1670"/>
                    <a:gd name="T33" fmla="*/ 1996 h 2634"/>
                    <a:gd name="T34" fmla="*/ 308 w 1670"/>
                    <a:gd name="T35" fmla="*/ 2002 h 2634"/>
                    <a:gd name="T36" fmla="*/ 284 w 1670"/>
                    <a:gd name="T37" fmla="*/ 1993 h 2634"/>
                    <a:gd name="T38" fmla="*/ 210 w 1670"/>
                    <a:gd name="T39" fmla="*/ 1949 h 2634"/>
                    <a:gd name="T40" fmla="*/ 226 w 1670"/>
                    <a:gd name="T41" fmla="*/ 1831 h 2634"/>
                    <a:gd name="T42" fmla="*/ 338 w 1670"/>
                    <a:gd name="T43" fmla="*/ 1636 h 2634"/>
                    <a:gd name="T44" fmla="*/ 0 w 1670"/>
                    <a:gd name="T45" fmla="*/ 1582 h 2634"/>
                    <a:gd name="T46" fmla="*/ 2 w 1670"/>
                    <a:gd name="T47" fmla="*/ 1481 h 2634"/>
                    <a:gd name="T48" fmla="*/ 14 w 1670"/>
                    <a:gd name="T49" fmla="*/ 1467 h 2634"/>
                    <a:gd name="T50" fmla="*/ 34 w 1670"/>
                    <a:gd name="T51" fmla="*/ 1456 h 2634"/>
                    <a:gd name="T52" fmla="*/ 520 w 1670"/>
                    <a:gd name="T53" fmla="*/ 1251 h 2634"/>
                    <a:gd name="T54" fmla="*/ 548 w 1670"/>
                    <a:gd name="T55" fmla="*/ 1235 h 2634"/>
                    <a:gd name="T56" fmla="*/ 561 w 1670"/>
                    <a:gd name="T57" fmla="*/ 1210 h 2634"/>
                    <a:gd name="T58" fmla="*/ 601 w 1670"/>
                    <a:gd name="T59" fmla="*/ 864 h 2634"/>
                    <a:gd name="T60" fmla="*/ 640 w 1670"/>
                    <a:gd name="T61" fmla="*/ 517 h 2634"/>
                    <a:gd name="T62" fmla="*/ 629 w 1670"/>
                    <a:gd name="T63" fmla="*/ 489 h 2634"/>
                    <a:gd name="T64" fmla="*/ 400 w 1670"/>
                    <a:gd name="T65" fmla="*/ 255 h 2634"/>
                    <a:gd name="T66" fmla="*/ 174 w 1670"/>
                    <a:gd name="T67" fmla="*/ 25 h 2634"/>
                    <a:gd name="T68" fmla="*/ 161 w 1670"/>
                    <a:gd name="T69" fmla="*/ 0 h 2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70" h="2634">
                      <a:moveTo>
                        <a:pt x="161" y="0"/>
                      </a:moveTo>
                      <a:lnTo>
                        <a:pt x="178" y="8"/>
                      </a:lnTo>
                      <a:lnTo>
                        <a:pt x="194" y="17"/>
                      </a:lnTo>
                      <a:lnTo>
                        <a:pt x="531" y="211"/>
                      </a:lnTo>
                      <a:lnTo>
                        <a:pt x="869" y="405"/>
                      </a:lnTo>
                      <a:lnTo>
                        <a:pt x="884" y="416"/>
                      </a:lnTo>
                      <a:lnTo>
                        <a:pt x="894" y="427"/>
                      </a:lnTo>
                      <a:lnTo>
                        <a:pt x="900" y="440"/>
                      </a:lnTo>
                      <a:lnTo>
                        <a:pt x="902" y="458"/>
                      </a:lnTo>
                      <a:lnTo>
                        <a:pt x="918" y="858"/>
                      </a:lnTo>
                      <a:lnTo>
                        <a:pt x="934" y="1258"/>
                      </a:lnTo>
                      <a:lnTo>
                        <a:pt x="936" y="1274"/>
                      </a:lnTo>
                      <a:lnTo>
                        <a:pt x="941" y="1287"/>
                      </a:lnTo>
                      <a:lnTo>
                        <a:pt x="951" y="1299"/>
                      </a:lnTo>
                      <a:lnTo>
                        <a:pt x="963" y="1308"/>
                      </a:lnTo>
                      <a:lnTo>
                        <a:pt x="1317" y="1531"/>
                      </a:lnTo>
                      <a:lnTo>
                        <a:pt x="1670" y="1754"/>
                      </a:lnTo>
                      <a:lnTo>
                        <a:pt x="1670" y="2634"/>
                      </a:lnTo>
                      <a:lnTo>
                        <a:pt x="1574" y="2300"/>
                      </a:lnTo>
                      <a:lnTo>
                        <a:pt x="1529" y="2135"/>
                      </a:lnTo>
                      <a:lnTo>
                        <a:pt x="1482" y="1970"/>
                      </a:lnTo>
                      <a:lnTo>
                        <a:pt x="1476" y="1956"/>
                      </a:lnTo>
                      <a:lnTo>
                        <a:pt x="1467" y="1944"/>
                      </a:lnTo>
                      <a:lnTo>
                        <a:pt x="1457" y="1934"/>
                      </a:lnTo>
                      <a:lnTo>
                        <a:pt x="1444" y="1926"/>
                      </a:lnTo>
                      <a:lnTo>
                        <a:pt x="1136" y="1791"/>
                      </a:lnTo>
                      <a:lnTo>
                        <a:pt x="829" y="1658"/>
                      </a:lnTo>
                      <a:lnTo>
                        <a:pt x="812" y="1652"/>
                      </a:lnTo>
                      <a:lnTo>
                        <a:pt x="797" y="1652"/>
                      </a:lnTo>
                      <a:lnTo>
                        <a:pt x="783" y="1656"/>
                      </a:lnTo>
                      <a:lnTo>
                        <a:pt x="767" y="1666"/>
                      </a:lnTo>
                      <a:lnTo>
                        <a:pt x="554" y="1827"/>
                      </a:lnTo>
                      <a:lnTo>
                        <a:pt x="341" y="1989"/>
                      </a:lnTo>
                      <a:lnTo>
                        <a:pt x="329" y="1996"/>
                      </a:lnTo>
                      <a:lnTo>
                        <a:pt x="318" y="2001"/>
                      </a:lnTo>
                      <a:lnTo>
                        <a:pt x="308" y="2002"/>
                      </a:lnTo>
                      <a:lnTo>
                        <a:pt x="296" y="2000"/>
                      </a:lnTo>
                      <a:lnTo>
                        <a:pt x="284" y="1993"/>
                      </a:lnTo>
                      <a:lnTo>
                        <a:pt x="248" y="1971"/>
                      </a:lnTo>
                      <a:lnTo>
                        <a:pt x="210" y="1949"/>
                      </a:lnTo>
                      <a:lnTo>
                        <a:pt x="170" y="1926"/>
                      </a:lnTo>
                      <a:lnTo>
                        <a:pt x="226" y="1831"/>
                      </a:lnTo>
                      <a:lnTo>
                        <a:pt x="282" y="1735"/>
                      </a:lnTo>
                      <a:lnTo>
                        <a:pt x="338" y="1636"/>
                      </a:lnTo>
                      <a:lnTo>
                        <a:pt x="1" y="1636"/>
                      </a:lnTo>
                      <a:lnTo>
                        <a:pt x="0" y="1582"/>
                      </a:lnTo>
                      <a:lnTo>
                        <a:pt x="1" y="1531"/>
                      </a:lnTo>
                      <a:lnTo>
                        <a:pt x="2" y="1481"/>
                      </a:lnTo>
                      <a:lnTo>
                        <a:pt x="7" y="1474"/>
                      </a:lnTo>
                      <a:lnTo>
                        <a:pt x="14" y="1467"/>
                      </a:lnTo>
                      <a:lnTo>
                        <a:pt x="24" y="1461"/>
                      </a:lnTo>
                      <a:lnTo>
                        <a:pt x="34" y="1456"/>
                      </a:lnTo>
                      <a:lnTo>
                        <a:pt x="277" y="1352"/>
                      </a:lnTo>
                      <a:lnTo>
                        <a:pt x="520" y="1251"/>
                      </a:lnTo>
                      <a:lnTo>
                        <a:pt x="535" y="1243"/>
                      </a:lnTo>
                      <a:lnTo>
                        <a:pt x="548" y="1235"/>
                      </a:lnTo>
                      <a:lnTo>
                        <a:pt x="556" y="1224"/>
                      </a:lnTo>
                      <a:lnTo>
                        <a:pt x="561" y="1210"/>
                      </a:lnTo>
                      <a:lnTo>
                        <a:pt x="564" y="1194"/>
                      </a:lnTo>
                      <a:lnTo>
                        <a:pt x="601" y="864"/>
                      </a:lnTo>
                      <a:lnTo>
                        <a:pt x="639" y="534"/>
                      </a:lnTo>
                      <a:lnTo>
                        <a:pt x="640" y="517"/>
                      </a:lnTo>
                      <a:lnTo>
                        <a:pt x="636" y="502"/>
                      </a:lnTo>
                      <a:lnTo>
                        <a:pt x="629" y="489"/>
                      </a:lnTo>
                      <a:lnTo>
                        <a:pt x="619" y="475"/>
                      </a:lnTo>
                      <a:lnTo>
                        <a:pt x="400" y="255"/>
                      </a:lnTo>
                      <a:lnTo>
                        <a:pt x="183" y="35"/>
                      </a:lnTo>
                      <a:lnTo>
                        <a:pt x="174" y="25"/>
                      </a:lnTo>
                      <a:lnTo>
                        <a:pt x="166" y="15"/>
                      </a:lnTo>
                      <a:lnTo>
                        <a:pt x="16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dirty="0">
                    <a:ln>
                      <a:noFill/>
                    </a:ln>
                    <a:solidFill>
                      <a:srgbClr val="505050"/>
                    </a:solidFill>
                    <a:effectLst/>
                    <a:uLnTx/>
                    <a:uFillTx/>
                    <a:latin typeface="Segoe UI"/>
                    <a:ea typeface="+mn-ea"/>
                    <a:cs typeface="+mn-cs"/>
                  </a:endParaRPr>
                </a:p>
              </p:txBody>
            </p:sp>
            <p:sp>
              <p:nvSpPr>
                <p:cNvPr id="32" name="Freeform 16"/>
                <p:cNvSpPr>
                  <a:spLocks/>
                </p:cNvSpPr>
                <p:nvPr/>
              </p:nvSpPr>
              <p:spPr bwMode="auto">
                <a:xfrm>
                  <a:off x="-9472279" y="3980114"/>
                  <a:ext cx="2651125" cy="4183063"/>
                </a:xfrm>
                <a:custGeom>
                  <a:avLst/>
                  <a:gdLst>
                    <a:gd name="T0" fmla="*/ 1512 w 1670"/>
                    <a:gd name="T1" fmla="*/ 10 h 2635"/>
                    <a:gd name="T2" fmla="*/ 1277 w 1670"/>
                    <a:gd name="T3" fmla="*/ 251 h 2635"/>
                    <a:gd name="T4" fmla="*/ 1043 w 1670"/>
                    <a:gd name="T5" fmla="*/ 492 h 2635"/>
                    <a:gd name="T6" fmla="*/ 1033 w 1670"/>
                    <a:gd name="T7" fmla="*/ 521 h 2635"/>
                    <a:gd name="T8" fmla="*/ 1069 w 1670"/>
                    <a:gd name="T9" fmla="*/ 865 h 2635"/>
                    <a:gd name="T10" fmla="*/ 1109 w 1670"/>
                    <a:gd name="T11" fmla="*/ 1211 h 2635"/>
                    <a:gd name="T12" fmla="*/ 1121 w 1670"/>
                    <a:gd name="T13" fmla="*/ 1236 h 2635"/>
                    <a:gd name="T14" fmla="*/ 1148 w 1670"/>
                    <a:gd name="T15" fmla="*/ 1253 h 2635"/>
                    <a:gd name="T16" fmla="*/ 1639 w 1670"/>
                    <a:gd name="T17" fmla="*/ 1458 h 2635"/>
                    <a:gd name="T18" fmla="*/ 1660 w 1670"/>
                    <a:gd name="T19" fmla="*/ 1472 h 2635"/>
                    <a:gd name="T20" fmla="*/ 1670 w 1670"/>
                    <a:gd name="T21" fmla="*/ 1492 h 2635"/>
                    <a:gd name="T22" fmla="*/ 1669 w 1670"/>
                    <a:gd name="T23" fmla="*/ 1547 h 2635"/>
                    <a:gd name="T24" fmla="*/ 1670 w 1670"/>
                    <a:gd name="T25" fmla="*/ 1634 h 2635"/>
                    <a:gd name="T26" fmla="*/ 1373 w 1670"/>
                    <a:gd name="T27" fmla="*/ 1709 h 2635"/>
                    <a:gd name="T28" fmla="*/ 1457 w 1670"/>
                    <a:gd name="T29" fmla="*/ 1856 h 2635"/>
                    <a:gd name="T30" fmla="*/ 1455 w 1670"/>
                    <a:gd name="T31" fmla="*/ 1955 h 2635"/>
                    <a:gd name="T32" fmla="*/ 1369 w 1670"/>
                    <a:gd name="T33" fmla="*/ 2003 h 2635"/>
                    <a:gd name="T34" fmla="*/ 1355 w 1670"/>
                    <a:gd name="T35" fmla="*/ 2003 h 2635"/>
                    <a:gd name="T36" fmla="*/ 1339 w 1670"/>
                    <a:gd name="T37" fmla="*/ 1996 h 2635"/>
                    <a:gd name="T38" fmla="*/ 1117 w 1670"/>
                    <a:gd name="T39" fmla="*/ 1830 h 2635"/>
                    <a:gd name="T40" fmla="*/ 888 w 1670"/>
                    <a:gd name="T41" fmla="*/ 1659 h 2635"/>
                    <a:gd name="T42" fmla="*/ 857 w 1670"/>
                    <a:gd name="T43" fmla="*/ 1655 h 2635"/>
                    <a:gd name="T44" fmla="*/ 534 w 1670"/>
                    <a:gd name="T45" fmla="*/ 1794 h 2635"/>
                    <a:gd name="T46" fmla="*/ 211 w 1670"/>
                    <a:gd name="T47" fmla="*/ 1935 h 2635"/>
                    <a:gd name="T48" fmla="*/ 192 w 1670"/>
                    <a:gd name="T49" fmla="*/ 1958 h 2635"/>
                    <a:gd name="T50" fmla="*/ 15 w 1670"/>
                    <a:gd name="T51" fmla="*/ 2595 h 2635"/>
                    <a:gd name="T52" fmla="*/ 0 w 1670"/>
                    <a:gd name="T53" fmla="*/ 2635 h 2635"/>
                    <a:gd name="T54" fmla="*/ 214 w 1670"/>
                    <a:gd name="T55" fmla="*/ 1619 h 2635"/>
                    <a:gd name="T56" fmla="*/ 644 w 1670"/>
                    <a:gd name="T57" fmla="*/ 1352 h 2635"/>
                    <a:gd name="T58" fmla="*/ 693 w 1670"/>
                    <a:gd name="T59" fmla="*/ 1315 h 2635"/>
                    <a:gd name="T60" fmla="*/ 723 w 1670"/>
                    <a:gd name="T61" fmla="*/ 1273 h 2635"/>
                    <a:gd name="T62" fmla="*/ 738 w 1670"/>
                    <a:gd name="T63" fmla="*/ 1219 h 2635"/>
                    <a:gd name="T64" fmla="*/ 746 w 1670"/>
                    <a:gd name="T65" fmla="*/ 944 h 2635"/>
                    <a:gd name="T66" fmla="*/ 769 w 1670"/>
                    <a:gd name="T67" fmla="*/ 459 h 2635"/>
                    <a:gd name="T68" fmla="*/ 776 w 1670"/>
                    <a:gd name="T69" fmla="*/ 434 h 2635"/>
                    <a:gd name="T70" fmla="*/ 793 w 1670"/>
                    <a:gd name="T71" fmla="*/ 414 h 2635"/>
                    <a:gd name="T72" fmla="*/ 1276 w 1670"/>
                    <a:gd name="T73" fmla="*/ 136 h 2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70" h="2635">
                      <a:moveTo>
                        <a:pt x="1520" y="0"/>
                      </a:moveTo>
                      <a:lnTo>
                        <a:pt x="1512" y="10"/>
                      </a:lnTo>
                      <a:lnTo>
                        <a:pt x="1503" y="22"/>
                      </a:lnTo>
                      <a:lnTo>
                        <a:pt x="1277" y="251"/>
                      </a:lnTo>
                      <a:lnTo>
                        <a:pt x="1051" y="480"/>
                      </a:lnTo>
                      <a:lnTo>
                        <a:pt x="1043" y="492"/>
                      </a:lnTo>
                      <a:lnTo>
                        <a:pt x="1036" y="506"/>
                      </a:lnTo>
                      <a:lnTo>
                        <a:pt x="1033" y="521"/>
                      </a:lnTo>
                      <a:lnTo>
                        <a:pt x="1032" y="535"/>
                      </a:lnTo>
                      <a:lnTo>
                        <a:pt x="1069" y="865"/>
                      </a:lnTo>
                      <a:lnTo>
                        <a:pt x="1106" y="1195"/>
                      </a:lnTo>
                      <a:lnTo>
                        <a:pt x="1109" y="1211"/>
                      </a:lnTo>
                      <a:lnTo>
                        <a:pt x="1114" y="1225"/>
                      </a:lnTo>
                      <a:lnTo>
                        <a:pt x="1121" y="1236"/>
                      </a:lnTo>
                      <a:lnTo>
                        <a:pt x="1133" y="1245"/>
                      </a:lnTo>
                      <a:lnTo>
                        <a:pt x="1148" y="1253"/>
                      </a:lnTo>
                      <a:lnTo>
                        <a:pt x="1393" y="1355"/>
                      </a:lnTo>
                      <a:lnTo>
                        <a:pt x="1639" y="1458"/>
                      </a:lnTo>
                      <a:lnTo>
                        <a:pt x="1651" y="1465"/>
                      </a:lnTo>
                      <a:lnTo>
                        <a:pt x="1660" y="1472"/>
                      </a:lnTo>
                      <a:lnTo>
                        <a:pt x="1667" y="1481"/>
                      </a:lnTo>
                      <a:lnTo>
                        <a:pt x="1670" y="1492"/>
                      </a:lnTo>
                      <a:lnTo>
                        <a:pt x="1670" y="1506"/>
                      </a:lnTo>
                      <a:lnTo>
                        <a:pt x="1669" y="1547"/>
                      </a:lnTo>
                      <a:lnTo>
                        <a:pt x="1670" y="1589"/>
                      </a:lnTo>
                      <a:lnTo>
                        <a:pt x="1670" y="1634"/>
                      </a:lnTo>
                      <a:lnTo>
                        <a:pt x="1328" y="1634"/>
                      </a:lnTo>
                      <a:lnTo>
                        <a:pt x="1373" y="1709"/>
                      </a:lnTo>
                      <a:lnTo>
                        <a:pt x="1415" y="1783"/>
                      </a:lnTo>
                      <a:lnTo>
                        <a:pt x="1457" y="1856"/>
                      </a:lnTo>
                      <a:lnTo>
                        <a:pt x="1500" y="1929"/>
                      </a:lnTo>
                      <a:lnTo>
                        <a:pt x="1455" y="1955"/>
                      </a:lnTo>
                      <a:lnTo>
                        <a:pt x="1412" y="1980"/>
                      </a:lnTo>
                      <a:lnTo>
                        <a:pt x="1369" y="2003"/>
                      </a:lnTo>
                      <a:lnTo>
                        <a:pt x="1362" y="2004"/>
                      </a:lnTo>
                      <a:lnTo>
                        <a:pt x="1355" y="2003"/>
                      </a:lnTo>
                      <a:lnTo>
                        <a:pt x="1347" y="2000"/>
                      </a:lnTo>
                      <a:lnTo>
                        <a:pt x="1339" y="1996"/>
                      </a:lnTo>
                      <a:lnTo>
                        <a:pt x="1333" y="1991"/>
                      </a:lnTo>
                      <a:lnTo>
                        <a:pt x="1117" y="1830"/>
                      </a:lnTo>
                      <a:lnTo>
                        <a:pt x="904" y="1669"/>
                      </a:lnTo>
                      <a:lnTo>
                        <a:pt x="888" y="1659"/>
                      </a:lnTo>
                      <a:lnTo>
                        <a:pt x="873" y="1654"/>
                      </a:lnTo>
                      <a:lnTo>
                        <a:pt x="857" y="1655"/>
                      </a:lnTo>
                      <a:lnTo>
                        <a:pt x="839" y="1661"/>
                      </a:lnTo>
                      <a:lnTo>
                        <a:pt x="534" y="1794"/>
                      </a:lnTo>
                      <a:lnTo>
                        <a:pt x="227" y="1926"/>
                      </a:lnTo>
                      <a:lnTo>
                        <a:pt x="211" y="1935"/>
                      </a:lnTo>
                      <a:lnTo>
                        <a:pt x="200" y="1945"/>
                      </a:lnTo>
                      <a:lnTo>
                        <a:pt x="192" y="1958"/>
                      </a:lnTo>
                      <a:lnTo>
                        <a:pt x="186" y="1974"/>
                      </a:lnTo>
                      <a:lnTo>
                        <a:pt x="15" y="2595"/>
                      </a:lnTo>
                      <a:lnTo>
                        <a:pt x="8" y="2615"/>
                      </a:lnTo>
                      <a:lnTo>
                        <a:pt x="0" y="2635"/>
                      </a:lnTo>
                      <a:lnTo>
                        <a:pt x="0" y="1755"/>
                      </a:lnTo>
                      <a:lnTo>
                        <a:pt x="214" y="1619"/>
                      </a:lnTo>
                      <a:lnTo>
                        <a:pt x="428" y="1484"/>
                      </a:lnTo>
                      <a:lnTo>
                        <a:pt x="644" y="1352"/>
                      </a:lnTo>
                      <a:lnTo>
                        <a:pt x="671" y="1335"/>
                      </a:lnTo>
                      <a:lnTo>
                        <a:pt x="693" y="1315"/>
                      </a:lnTo>
                      <a:lnTo>
                        <a:pt x="710" y="1296"/>
                      </a:lnTo>
                      <a:lnTo>
                        <a:pt x="723" y="1273"/>
                      </a:lnTo>
                      <a:lnTo>
                        <a:pt x="733" y="1248"/>
                      </a:lnTo>
                      <a:lnTo>
                        <a:pt x="738" y="1219"/>
                      </a:lnTo>
                      <a:lnTo>
                        <a:pt x="740" y="1186"/>
                      </a:lnTo>
                      <a:lnTo>
                        <a:pt x="746" y="944"/>
                      </a:lnTo>
                      <a:lnTo>
                        <a:pt x="758" y="702"/>
                      </a:lnTo>
                      <a:lnTo>
                        <a:pt x="769" y="459"/>
                      </a:lnTo>
                      <a:lnTo>
                        <a:pt x="772" y="446"/>
                      </a:lnTo>
                      <a:lnTo>
                        <a:pt x="776" y="434"/>
                      </a:lnTo>
                      <a:lnTo>
                        <a:pt x="783" y="423"/>
                      </a:lnTo>
                      <a:lnTo>
                        <a:pt x="793" y="414"/>
                      </a:lnTo>
                      <a:lnTo>
                        <a:pt x="1034" y="275"/>
                      </a:lnTo>
                      <a:lnTo>
                        <a:pt x="1276" y="136"/>
                      </a:lnTo>
                      <a:lnTo>
                        <a:pt x="152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dirty="0">
                    <a:ln>
                      <a:noFill/>
                    </a:ln>
                    <a:solidFill>
                      <a:srgbClr val="505050"/>
                    </a:solidFill>
                    <a:effectLst/>
                    <a:uLnTx/>
                    <a:uFillTx/>
                    <a:latin typeface="Segoe UI"/>
                    <a:ea typeface="+mn-ea"/>
                    <a:cs typeface="+mn-cs"/>
                  </a:endParaRPr>
                </a:p>
              </p:txBody>
            </p:sp>
            <p:sp>
              <p:nvSpPr>
                <p:cNvPr id="33" name="Freeform 17"/>
                <p:cNvSpPr>
                  <a:spLocks/>
                </p:cNvSpPr>
                <p:nvPr/>
              </p:nvSpPr>
              <p:spPr bwMode="auto">
                <a:xfrm>
                  <a:off x="-9180179" y="7126539"/>
                  <a:ext cx="4799013" cy="2192338"/>
                </a:xfrm>
                <a:custGeom>
                  <a:avLst/>
                  <a:gdLst>
                    <a:gd name="T0" fmla="*/ 1729 w 3023"/>
                    <a:gd name="T1" fmla="*/ 25 h 1381"/>
                    <a:gd name="T2" fmla="*/ 1811 w 3023"/>
                    <a:gd name="T3" fmla="*/ 74 h 1381"/>
                    <a:gd name="T4" fmla="*/ 1822 w 3023"/>
                    <a:gd name="T5" fmla="*/ 92 h 1381"/>
                    <a:gd name="T6" fmla="*/ 1823 w 3023"/>
                    <a:gd name="T7" fmla="*/ 115 h 1381"/>
                    <a:gd name="T8" fmla="*/ 1757 w 3023"/>
                    <a:gd name="T9" fmla="*/ 647 h 1381"/>
                    <a:gd name="T10" fmla="*/ 1759 w 3023"/>
                    <a:gd name="T11" fmla="*/ 677 h 1381"/>
                    <a:gd name="T12" fmla="*/ 1778 w 3023"/>
                    <a:gd name="T13" fmla="*/ 701 h 1381"/>
                    <a:gd name="T14" fmla="*/ 2317 w 3023"/>
                    <a:gd name="T15" fmla="*/ 1101 h 1381"/>
                    <a:gd name="T16" fmla="*/ 2349 w 3023"/>
                    <a:gd name="T17" fmla="*/ 1114 h 1381"/>
                    <a:gd name="T18" fmla="*/ 2384 w 3023"/>
                    <a:gd name="T19" fmla="*/ 1112 h 1381"/>
                    <a:gd name="T20" fmla="*/ 2983 w 3023"/>
                    <a:gd name="T21" fmla="*/ 955 h 1381"/>
                    <a:gd name="T22" fmla="*/ 3009 w 3023"/>
                    <a:gd name="T23" fmla="*/ 952 h 1381"/>
                    <a:gd name="T24" fmla="*/ 2990 w 3023"/>
                    <a:gd name="T25" fmla="*/ 975 h 1381"/>
                    <a:gd name="T26" fmla="*/ 2288 w 3023"/>
                    <a:gd name="T27" fmla="*/ 1381 h 1381"/>
                    <a:gd name="T28" fmla="*/ 2277 w 3023"/>
                    <a:gd name="T29" fmla="*/ 1379 h 1381"/>
                    <a:gd name="T30" fmla="*/ 2271 w 3023"/>
                    <a:gd name="T31" fmla="*/ 1375 h 1381"/>
                    <a:gd name="T32" fmla="*/ 1537 w 3023"/>
                    <a:gd name="T33" fmla="*/ 992 h 1381"/>
                    <a:gd name="T34" fmla="*/ 1512 w 3023"/>
                    <a:gd name="T35" fmla="*/ 988 h 1381"/>
                    <a:gd name="T36" fmla="*/ 1488 w 3023"/>
                    <a:gd name="T37" fmla="*/ 996 h 1381"/>
                    <a:gd name="T38" fmla="*/ 1037 w 3023"/>
                    <a:gd name="T39" fmla="*/ 1230 h 1381"/>
                    <a:gd name="T40" fmla="*/ 752 w 3023"/>
                    <a:gd name="T41" fmla="*/ 1381 h 1381"/>
                    <a:gd name="T42" fmla="*/ 624 w 3023"/>
                    <a:gd name="T43" fmla="*/ 1314 h 1381"/>
                    <a:gd name="T44" fmla="*/ 271 w 3023"/>
                    <a:gd name="T45" fmla="*/ 1108 h 1381"/>
                    <a:gd name="T46" fmla="*/ 19 w 3023"/>
                    <a:gd name="T47" fmla="*/ 963 h 1381"/>
                    <a:gd name="T48" fmla="*/ 0 w 3023"/>
                    <a:gd name="T49" fmla="*/ 943 h 1381"/>
                    <a:gd name="T50" fmla="*/ 547 w 3023"/>
                    <a:gd name="T51" fmla="*/ 1085 h 1381"/>
                    <a:gd name="T52" fmla="*/ 667 w 3023"/>
                    <a:gd name="T53" fmla="*/ 1113 h 1381"/>
                    <a:gd name="T54" fmla="*/ 696 w 3023"/>
                    <a:gd name="T55" fmla="*/ 1108 h 1381"/>
                    <a:gd name="T56" fmla="*/ 980 w 3023"/>
                    <a:gd name="T57" fmla="*/ 902 h 1381"/>
                    <a:gd name="T58" fmla="*/ 1264 w 3023"/>
                    <a:gd name="T59" fmla="*/ 689 h 1381"/>
                    <a:gd name="T60" fmla="*/ 1274 w 3023"/>
                    <a:gd name="T61" fmla="*/ 664 h 1381"/>
                    <a:gd name="T62" fmla="*/ 1242 w 3023"/>
                    <a:gd name="T63" fmla="*/ 400 h 1381"/>
                    <a:gd name="T64" fmla="*/ 1209 w 3023"/>
                    <a:gd name="T65" fmla="*/ 131 h 1381"/>
                    <a:gd name="T66" fmla="*/ 1207 w 3023"/>
                    <a:gd name="T67" fmla="*/ 101 h 1381"/>
                    <a:gd name="T68" fmla="*/ 1214 w 3023"/>
                    <a:gd name="T69" fmla="*/ 82 h 1381"/>
                    <a:gd name="T70" fmla="*/ 1231 w 3023"/>
                    <a:gd name="T71" fmla="*/ 66 h 1381"/>
                    <a:gd name="T72" fmla="*/ 1263 w 3023"/>
                    <a:gd name="T73" fmla="*/ 46 h 1381"/>
                    <a:gd name="T74" fmla="*/ 1317 w 3023"/>
                    <a:gd name="T75" fmla="*/ 16 h 1381"/>
                    <a:gd name="T76" fmla="*/ 1402 w 3023"/>
                    <a:gd name="T77" fmla="*/ 96 h 1381"/>
                    <a:gd name="T78" fmla="*/ 1515 w 3023"/>
                    <a:gd name="T79" fmla="*/ 292 h 1381"/>
                    <a:gd name="T80" fmla="*/ 1629 w 3023"/>
                    <a:gd name="T81" fmla="*/ 97 h 1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23" h="1381">
                      <a:moveTo>
                        <a:pt x="1686" y="0"/>
                      </a:moveTo>
                      <a:lnTo>
                        <a:pt x="1729" y="25"/>
                      </a:lnTo>
                      <a:lnTo>
                        <a:pt x="1771" y="48"/>
                      </a:lnTo>
                      <a:lnTo>
                        <a:pt x="1811" y="74"/>
                      </a:lnTo>
                      <a:lnTo>
                        <a:pt x="1817" y="81"/>
                      </a:lnTo>
                      <a:lnTo>
                        <a:pt x="1822" y="92"/>
                      </a:lnTo>
                      <a:lnTo>
                        <a:pt x="1823" y="104"/>
                      </a:lnTo>
                      <a:lnTo>
                        <a:pt x="1823" y="115"/>
                      </a:lnTo>
                      <a:lnTo>
                        <a:pt x="1791" y="381"/>
                      </a:lnTo>
                      <a:lnTo>
                        <a:pt x="1757" y="647"/>
                      </a:lnTo>
                      <a:lnTo>
                        <a:pt x="1756" y="664"/>
                      </a:lnTo>
                      <a:lnTo>
                        <a:pt x="1759" y="677"/>
                      </a:lnTo>
                      <a:lnTo>
                        <a:pt x="1766" y="689"/>
                      </a:lnTo>
                      <a:lnTo>
                        <a:pt x="1778" y="701"/>
                      </a:lnTo>
                      <a:lnTo>
                        <a:pt x="2048" y="900"/>
                      </a:lnTo>
                      <a:lnTo>
                        <a:pt x="2317" y="1101"/>
                      </a:lnTo>
                      <a:lnTo>
                        <a:pt x="2334" y="1110"/>
                      </a:lnTo>
                      <a:lnTo>
                        <a:pt x="2349" y="1114"/>
                      </a:lnTo>
                      <a:lnTo>
                        <a:pt x="2366" y="1115"/>
                      </a:lnTo>
                      <a:lnTo>
                        <a:pt x="2384" y="1112"/>
                      </a:lnTo>
                      <a:lnTo>
                        <a:pt x="2683" y="1033"/>
                      </a:lnTo>
                      <a:lnTo>
                        <a:pt x="2983" y="955"/>
                      </a:lnTo>
                      <a:lnTo>
                        <a:pt x="2995" y="953"/>
                      </a:lnTo>
                      <a:lnTo>
                        <a:pt x="3009" y="952"/>
                      </a:lnTo>
                      <a:lnTo>
                        <a:pt x="3023" y="954"/>
                      </a:lnTo>
                      <a:lnTo>
                        <a:pt x="2990" y="975"/>
                      </a:lnTo>
                      <a:lnTo>
                        <a:pt x="2315" y="1365"/>
                      </a:lnTo>
                      <a:lnTo>
                        <a:pt x="2288" y="1381"/>
                      </a:lnTo>
                      <a:lnTo>
                        <a:pt x="2281" y="1381"/>
                      </a:lnTo>
                      <a:lnTo>
                        <a:pt x="2277" y="1379"/>
                      </a:lnTo>
                      <a:lnTo>
                        <a:pt x="2274" y="1377"/>
                      </a:lnTo>
                      <a:lnTo>
                        <a:pt x="2271" y="1375"/>
                      </a:lnTo>
                      <a:lnTo>
                        <a:pt x="1905" y="1183"/>
                      </a:lnTo>
                      <a:lnTo>
                        <a:pt x="1537" y="992"/>
                      </a:lnTo>
                      <a:lnTo>
                        <a:pt x="1526" y="988"/>
                      </a:lnTo>
                      <a:lnTo>
                        <a:pt x="1512" y="988"/>
                      </a:lnTo>
                      <a:lnTo>
                        <a:pt x="1499" y="990"/>
                      </a:lnTo>
                      <a:lnTo>
                        <a:pt x="1488" y="996"/>
                      </a:lnTo>
                      <a:lnTo>
                        <a:pt x="1262" y="1112"/>
                      </a:lnTo>
                      <a:lnTo>
                        <a:pt x="1037" y="1230"/>
                      </a:lnTo>
                      <a:lnTo>
                        <a:pt x="895" y="1305"/>
                      </a:lnTo>
                      <a:lnTo>
                        <a:pt x="752" y="1381"/>
                      </a:lnTo>
                      <a:lnTo>
                        <a:pt x="736" y="1381"/>
                      </a:lnTo>
                      <a:lnTo>
                        <a:pt x="624" y="1314"/>
                      </a:lnTo>
                      <a:lnTo>
                        <a:pt x="511" y="1247"/>
                      </a:lnTo>
                      <a:lnTo>
                        <a:pt x="271" y="1108"/>
                      </a:lnTo>
                      <a:lnTo>
                        <a:pt x="29" y="969"/>
                      </a:lnTo>
                      <a:lnTo>
                        <a:pt x="19" y="963"/>
                      </a:lnTo>
                      <a:lnTo>
                        <a:pt x="9" y="954"/>
                      </a:lnTo>
                      <a:lnTo>
                        <a:pt x="0" y="943"/>
                      </a:lnTo>
                      <a:lnTo>
                        <a:pt x="441" y="1057"/>
                      </a:lnTo>
                      <a:lnTo>
                        <a:pt x="547" y="1085"/>
                      </a:lnTo>
                      <a:lnTo>
                        <a:pt x="654" y="1112"/>
                      </a:lnTo>
                      <a:lnTo>
                        <a:pt x="667" y="1113"/>
                      </a:lnTo>
                      <a:lnTo>
                        <a:pt x="682" y="1112"/>
                      </a:lnTo>
                      <a:lnTo>
                        <a:pt x="696" y="1108"/>
                      </a:lnTo>
                      <a:lnTo>
                        <a:pt x="707" y="1102"/>
                      </a:lnTo>
                      <a:lnTo>
                        <a:pt x="980" y="902"/>
                      </a:lnTo>
                      <a:lnTo>
                        <a:pt x="1252" y="701"/>
                      </a:lnTo>
                      <a:lnTo>
                        <a:pt x="1264" y="689"/>
                      </a:lnTo>
                      <a:lnTo>
                        <a:pt x="1271" y="678"/>
                      </a:lnTo>
                      <a:lnTo>
                        <a:pt x="1274" y="664"/>
                      </a:lnTo>
                      <a:lnTo>
                        <a:pt x="1273" y="647"/>
                      </a:lnTo>
                      <a:lnTo>
                        <a:pt x="1242" y="400"/>
                      </a:lnTo>
                      <a:lnTo>
                        <a:pt x="1211" y="151"/>
                      </a:lnTo>
                      <a:lnTo>
                        <a:pt x="1209" y="131"/>
                      </a:lnTo>
                      <a:lnTo>
                        <a:pt x="1207" y="114"/>
                      </a:lnTo>
                      <a:lnTo>
                        <a:pt x="1207" y="101"/>
                      </a:lnTo>
                      <a:lnTo>
                        <a:pt x="1209" y="91"/>
                      </a:lnTo>
                      <a:lnTo>
                        <a:pt x="1214" y="82"/>
                      </a:lnTo>
                      <a:lnTo>
                        <a:pt x="1220" y="74"/>
                      </a:lnTo>
                      <a:lnTo>
                        <a:pt x="1231" y="66"/>
                      </a:lnTo>
                      <a:lnTo>
                        <a:pt x="1244" y="58"/>
                      </a:lnTo>
                      <a:lnTo>
                        <a:pt x="1263" y="46"/>
                      </a:lnTo>
                      <a:lnTo>
                        <a:pt x="1290" y="32"/>
                      </a:lnTo>
                      <a:lnTo>
                        <a:pt x="1317" y="16"/>
                      </a:lnTo>
                      <a:lnTo>
                        <a:pt x="1345" y="0"/>
                      </a:lnTo>
                      <a:lnTo>
                        <a:pt x="1402" y="96"/>
                      </a:lnTo>
                      <a:lnTo>
                        <a:pt x="1458" y="193"/>
                      </a:lnTo>
                      <a:lnTo>
                        <a:pt x="1515" y="292"/>
                      </a:lnTo>
                      <a:lnTo>
                        <a:pt x="1572" y="193"/>
                      </a:lnTo>
                      <a:lnTo>
                        <a:pt x="1629" y="97"/>
                      </a:lnTo>
                      <a:lnTo>
                        <a:pt x="168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dirty="0">
                    <a:ln>
                      <a:noFill/>
                    </a:ln>
                    <a:solidFill>
                      <a:srgbClr val="505050"/>
                    </a:solidFill>
                    <a:effectLst/>
                    <a:uLnTx/>
                    <a:uFillTx/>
                    <a:latin typeface="Segoe UI"/>
                    <a:ea typeface="+mn-ea"/>
                    <a:cs typeface="+mn-cs"/>
                  </a:endParaRPr>
                </a:p>
              </p:txBody>
            </p:sp>
            <p:sp>
              <p:nvSpPr>
                <p:cNvPr id="34" name="Freeform 19"/>
                <p:cNvSpPr>
                  <a:spLocks/>
                </p:cNvSpPr>
                <p:nvPr/>
              </p:nvSpPr>
              <p:spPr bwMode="auto">
                <a:xfrm>
                  <a:off x="-7627604" y="5377114"/>
                  <a:ext cx="1695450" cy="631825"/>
                </a:xfrm>
                <a:custGeom>
                  <a:avLst/>
                  <a:gdLst>
                    <a:gd name="T0" fmla="*/ 547 w 1068"/>
                    <a:gd name="T1" fmla="*/ 0 h 398"/>
                    <a:gd name="T2" fmla="*/ 556 w 1068"/>
                    <a:gd name="T3" fmla="*/ 3 h 398"/>
                    <a:gd name="T4" fmla="*/ 810 w 1068"/>
                    <a:gd name="T5" fmla="*/ 148 h 398"/>
                    <a:gd name="T6" fmla="*/ 1062 w 1068"/>
                    <a:gd name="T7" fmla="*/ 293 h 398"/>
                    <a:gd name="T8" fmla="*/ 1063 w 1068"/>
                    <a:gd name="T9" fmla="*/ 294 h 398"/>
                    <a:gd name="T10" fmla="*/ 1064 w 1068"/>
                    <a:gd name="T11" fmla="*/ 296 h 398"/>
                    <a:gd name="T12" fmla="*/ 1065 w 1068"/>
                    <a:gd name="T13" fmla="*/ 298 h 398"/>
                    <a:gd name="T14" fmla="*/ 1066 w 1068"/>
                    <a:gd name="T15" fmla="*/ 300 h 398"/>
                    <a:gd name="T16" fmla="*/ 1068 w 1068"/>
                    <a:gd name="T17" fmla="*/ 304 h 398"/>
                    <a:gd name="T18" fmla="*/ 957 w 1068"/>
                    <a:gd name="T19" fmla="*/ 352 h 398"/>
                    <a:gd name="T20" fmla="*/ 846 w 1068"/>
                    <a:gd name="T21" fmla="*/ 397 h 398"/>
                    <a:gd name="T22" fmla="*/ 836 w 1068"/>
                    <a:gd name="T23" fmla="*/ 398 h 398"/>
                    <a:gd name="T24" fmla="*/ 826 w 1068"/>
                    <a:gd name="T25" fmla="*/ 396 h 398"/>
                    <a:gd name="T26" fmla="*/ 816 w 1068"/>
                    <a:gd name="T27" fmla="*/ 392 h 398"/>
                    <a:gd name="T28" fmla="*/ 806 w 1068"/>
                    <a:gd name="T29" fmla="*/ 387 h 398"/>
                    <a:gd name="T30" fmla="*/ 691 w 1068"/>
                    <a:gd name="T31" fmla="*/ 319 h 398"/>
                    <a:gd name="T32" fmla="*/ 578 w 1068"/>
                    <a:gd name="T33" fmla="*/ 248 h 398"/>
                    <a:gd name="T34" fmla="*/ 561 w 1068"/>
                    <a:gd name="T35" fmla="*/ 238 h 398"/>
                    <a:gd name="T36" fmla="*/ 547 w 1068"/>
                    <a:gd name="T37" fmla="*/ 234 h 398"/>
                    <a:gd name="T38" fmla="*/ 531 w 1068"/>
                    <a:gd name="T39" fmla="*/ 233 h 398"/>
                    <a:gd name="T40" fmla="*/ 516 w 1068"/>
                    <a:gd name="T41" fmla="*/ 237 h 398"/>
                    <a:gd name="T42" fmla="*/ 499 w 1068"/>
                    <a:gd name="T43" fmla="*/ 247 h 398"/>
                    <a:gd name="T44" fmla="*/ 423 w 1068"/>
                    <a:gd name="T45" fmla="*/ 295 h 398"/>
                    <a:gd name="T46" fmla="*/ 346 w 1068"/>
                    <a:gd name="T47" fmla="*/ 341 h 398"/>
                    <a:gd name="T48" fmla="*/ 267 w 1068"/>
                    <a:gd name="T49" fmla="*/ 388 h 398"/>
                    <a:gd name="T50" fmla="*/ 257 w 1068"/>
                    <a:gd name="T51" fmla="*/ 393 h 398"/>
                    <a:gd name="T52" fmla="*/ 246 w 1068"/>
                    <a:gd name="T53" fmla="*/ 396 h 398"/>
                    <a:gd name="T54" fmla="*/ 234 w 1068"/>
                    <a:gd name="T55" fmla="*/ 397 h 398"/>
                    <a:gd name="T56" fmla="*/ 224 w 1068"/>
                    <a:gd name="T57" fmla="*/ 396 h 398"/>
                    <a:gd name="T58" fmla="*/ 152 w 1068"/>
                    <a:gd name="T59" fmla="*/ 366 h 398"/>
                    <a:gd name="T60" fmla="*/ 77 w 1068"/>
                    <a:gd name="T61" fmla="*/ 335 h 398"/>
                    <a:gd name="T62" fmla="*/ 0 w 1068"/>
                    <a:gd name="T63" fmla="*/ 301 h 398"/>
                    <a:gd name="T64" fmla="*/ 76 w 1068"/>
                    <a:gd name="T65" fmla="*/ 258 h 398"/>
                    <a:gd name="T66" fmla="*/ 150 w 1068"/>
                    <a:gd name="T67" fmla="*/ 215 h 398"/>
                    <a:gd name="T68" fmla="*/ 223 w 1068"/>
                    <a:gd name="T69" fmla="*/ 172 h 398"/>
                    <a:gd name="T70" fmla="*/ 294 w 1068"/>
                    <a:gd name="T71" fmla="*/ 131 h 398"/>
                    <a:gd name="T72" fmla="*/ 404 w 1068"/>
                    <a:gd name="T73" fmla="*/ 68 h 398"/>
                    <a:gd name="T74" fmla="*/ 513 w 1068"/>
                    <a:gd name="T75" fmla="*/ 6 h 398"/>
                    <a:gd name="T76" fmla="*/ 523 w 1068"/>
                    <a:gd name="T77" fmla="*/ 2 h 398"/>
                    <a:gd name="T78" fmla="*/ 535 w 1068"/>
                    <a:gd name="T79" fmla="*/ 0 h 398"/>
                    <a:gd name="T80" fmla="*/ 547 w 1068"/>
                    <a:gd name="T8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68" h="398">
                      <a:moveTo>
                        <a:pt x="547" y="0"/>
                      </a:moveTo>
                      <a:lnTo>
                        <a:pt x="556" y="3"/>
                      </a:lnTo>
                      <a:lnTo>
                        <a:pt x="810" y="148"/>
                      </a:lnTo>
                      <a:lnTo>
                        <a:pt x="1062" y="293"/>
                      </a:lnTo>
                      <a:lnTo>
                        <a:pt x="1063" y="294"/>
                      </a:lnTo>
                      <a:lnTo>
                        <a:pt x="1064" y="296"/>
                      </a:lnTo>
                      <a:lnTo>
                        <a:pt x="1065" y="298"/>
                      </a:lnTo>
                      <a:lnTo>
                        <a:pt x="1066" y="300"/>
                      </a:lnTo>
                      <a:lnTo>
                        <a:pt x="1068" y="304"/>
                      </a:lnTo>
                      <a:lnTo>
                        <a:pt x="957" y="352"/>
                      </a:lnTo>
                      <a:lnTo>
                        <a:pt x="846" y="397"/>
                      </a:lnTo>
                      <a:lnTo>
                        <a:pt x="836" y="398"/>
                      </a:lnTo>
                      <a:lnTo>
                        <a:pt x="826" y="396"/>
                      </a:lnTo>
                      <a:lnTo>
                        <a:pt x="816" y="392"/>
                      </a:lnTo>
                      <a:lnTo>
                        <a:pt x="806" y="387"/>
                      </a:lnTo>
                      <a:lnTo>
                        <a:pt x="691" y="319"/>
                      </a:lnTo>
                      <a:lnTo>
                        <a:pt x="578" y="248"/>
                      </a:lnTo>
                      <a:lnTo>
                        <a:pt x="561" y="238"/>
                      </a:lnTo>
                      <a:lnTo>
                        <a:pt x="547" y="234"/>
                      </a:lnTo>
                      <a:lnTo>
                        <a:pt x="531" y="233"/>
                      </a:lnTo>
                      <a:lnTo>
                        <a:pt x="516" y="237"/>
                      </a:lnTo>
                      <a:lnTo>
                        <a:pt x="499" y="247"/>
                      </a:lnTo>
                      <a:lnTo>
                        <a:pt x="423" y="295"/>
                      </a:lnTo>
                      <a:lnTo>
                        <a:pt x="346" y="341"/>
                      </a:lnTo>
                      <a:lnTo>
                        <a:pt x="267" y="388"/>
                      </a:lnTo>
                      <a:lnTo>
                        <a:pt x="257" y="393"/>
                      </a:lnTo>
                      <a:lnTo>
                        <a:pt x="246" y="396"/>
                      </a:lnTo>
                      <a:lnTo>
                        <a:pt x="234" y="397"/>
                      </a:lnTo>
                      <a:lnTo>
                        <a:pt x="224" y="396"/>
                      </a:lnTo>
                      <a:lnTo>
                        <a:pt x="152" y="366"/>
                      </a:lnTo>
                      <a:lnTo>
                        <a:pt x="77" y="335"/>
                      </a:lnTo>
                      <a:lnTo>
                        <a:pt x="0" y="301"/>
                      </a:lnTo>
                      <a:lnTo>
                        <a:pt x="76" y="258"/>
                      </a:lnTo>
                      <a:lnTo>
                        <a:pt x="150" y="215"/>
                      </a:lnTo>
                      <a:lnTo>
                        <a:pt x="223" y="172"/>
                      </a:lnTo>
                      <a:lnTo>
                        <a:pt x="294" y="131"/>
                      </a:lnTo>
                      <a:lnTo>
                        <a:pt x="404" y="68"/>
                      </a:lnTo>
                      <a:lnTo>
                        <a:pt x="513" y="6"/>
                      </a:lnTo>
                      <a:lnTo>
                        <a:pt x="523" y="2"/>
                      </a:lnTo>
                      <a:lnTo>
                        <a:pt x="535" y="0"/>
                      </a:lnTo>
                      <a:lnTo>
                        <a:pt x="547"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dirty="0">
                    <a:ln>
                      <a:noFill/>
                    </a:ln>
                    <a:solidFill>
                      <a:srgbClr val="505050"/>
                    </a:solidFill>
                    <a:effectLst/>
                    <a:uLnTx/>
                    <a:uFillTx/>
                    <a:latin typeface="Segoe UI"/>
                    <a:ea typeface="+mn-ea"/>
                    <a:cs typeface="+mn-cs"/>
                  </a:endParaRPr>
                </a:p>
              </p:txBody>
            </p:sp>
            <p:sp>
              <p:nvSpPr>
                <p:cNvPr id="35" name="Freeform 20"/>
                <p:cNvSpPr>
                  <a:spLocks/>
                </p:cNvSpPr>
                <p:nvPr/>
              </p:nvSpPr>
              <p:spPr bwMode="auto">
                <a:xfrm>
                  <a:off x="-8099092" y="6694739"/>
                  <a:ext cx="854075" cy="1476375"/>
                </a:xfrm>
                <a:custGeom>
                  <a:avLst/>
                  <a:gdLst>
                    <a:gd name="T0" fmla="*/ 0 w 538"/>
                    <a:gd name="T1" fmla="*/ 0 h 930"/>
                    <a:gd name="T2" fmla="*/ 32 w 538"/>
                    <a:gd name="T3" fmla="*/ 25 h 930"/>
                    <a:gd name="T4" fmla="*/ 62 w 538"/>
                    <a:gd name="T5" fmla="*/ 47 h 930"/>
                    <a:gd name="T6" fmla="*/ 89 w 538"/>
                    <a:gd name="T7" fmla="*/ 68 h 930"/>
                    <a:gd name="T8" fmla="*/ 107 w 538"/>
                    <a:gd name="T9" fmla="*/ 80 h 930"/>
                    <a:gd name="T10" fmla="*/ 125 w 538"/>
                    <a:gd name="T11" fmla="*/ 93 h 930"/>
                    <a:gd name="T12" fmla="*/ 144 w 538"/>
                    <a:gd name="T13" fmla="*/ 105 h 930"/>
                    <a:gd name="T14" fmla="*/ 161 w 538"/>
                    <a:gd name="T15" fmla="*/ 117 h 930"/>
                    <a:gd name="T16" fmla="*/ 178 w 538"/>
                    <a:gd name="T17" fmla="*/ 131 h 930"/>
                    <a:gd name="T18" fmla="*/ 191 w 538"/>
                    <a:gd name="T19" fmla="*/ 145 h 930"/>
                    <a:gd name="T20" fmla="*/ 202 w 538"/>
                    <a:gd name="T21" fmla="*/ 161 h 930"/>
                    <a:gd name="T22" fmla="*/ 208 w 538"/>
                    <a:gd name="T23" fmla="*/ 179 h 930"/>
                    <a:gd name="T24" fmla="*/ 211 w 538"/>
                    <a:gd name="T25" fmla="*/ 199 h 930"/>
                    <a:gd name="T26" fmla="*/ 212 w 538"/>
                    <a:gd name="T27" fmla="*/ 219 h 930"/>
                    <a:gd name="T28" fmla="*/ 211 w 538"/>
                    <a:gd name="T29" fmla="*/ 241 h 930"/>
                    <a:gd name="T30" fmla="*/ 209 w 538"/>
                    <a:gd name="T31" fmla="*/ 263 h 930"/>
                    <a:gd name="T32" fmla="*/ 207 w 538"/>
                    <a:gd name="T33" fmla="*/ 284 h 930"/>
                    <a:gd name="T34" fmla="*/ 206 w 538"/>
                    <a:gd name="T35" fmla="*/ 306 h 930"/>
                    <a:gd name="T36" fmla="*/ 205 w 538"/>
                    <a:gd name="T37" fmla="*/ 386 h 930"/>
                    <a:gd name="T38" fmla="*/ 202 w 538"/>
                    <a:gd name="T39" fmla="*/ 466 h 930"/>
                    <a:gd name="T40" fmla="*/ 202 w 538"/>
                    <a:gd name="T41" fmla="*/ 483 h 930"/>
                    <a:gd name="T42" fmla="*/ 207 w 538"/>
                    <a:gd name="T43" fmla="*/ 498 h 930"/>
                    <a:gd name="T44" fmla="*/ 216 w 538"/>
                    <a:gd name="T45" fmla="*/ 509 h 930"/>
                    <a:gd name="T46" fmla="*/ 231 w 538"/>
                    <a:gd name="T47" fmla="*/ 519 h 930"/>
                    <a:gd name="T48" fmla="*/ 312 w 538"/>
                    <a:gd name="T49" fmla="*/ 563 h 930"/>
                    <a:gd name="T50" fmla="*/ 392 w 538"/>
                    <a:gd name="T51" fmla="*/ 607 h 930"/>
                    <a:gd name="T52" fmla="*/ 473 w 538"/>
                    <a:gd name="T53" fmla="*/ 650 h 930"/>
                    <a:gd name="T54" fmla="*/ 489 w 538"/>
                    <a:gd name="T55" fmla="*/ 662 h 930"/>
                    <a:gd name="T56" fmla="*/ 501 w 538"/>
                    <a:gd name="T57" fmla="*/ 674 h 930"/>
                    <a:gd name="T58" fmla="*/ 508 w 538"/>
                    <a:gd name="T59" fmla="*/ 690 h 930"/>
                    <a:gd name="T60" fmla="*/ 512 w 538"/>
                    <a:gd name="T61" fmla="*/ 709 h 930"/>
                    <a:gd name="T62" fmla="*/ 519 w 538"/>
                    <a:gd name="T63" fmla="*/ 779 h 930"/>
                    <a:gd name="T64" fmla="*/ 528 w 538"/>
                    <a:gd name="T65" fmla="*/ 852 h 930"/>
                    <a:gd name="T66" fmla="*/ 538 w 538"/>
                    <a:gd name="T67" fmla="*/ 930 h 930"/>
                    <a:gd name="T68" fmla="*/ 470 w 538"/>
                    <a:gd name="T69" fmla="*/ 890 h 930"/>
                    <a:gd name="T70" fmla="*/ 405 w 538"/>
                    <a:gd name="T71" fmla="*/ 853 h 930"/>
                    <a:gd name="T72" fmla="*/ 341 w 538"/>
                    <a:gd name="T73" fmla="*/ 816 h 930"/>
                    <a:gd name="T74" fmla="*/ 278 w 538"/>
                    <a:gd name="T75" fmla="*/ 780 h 930"/>
                    <a:gd name="T76" fmla="*/ 151 w 538"/>
                    <a:gd name="T77" fmla="*/ 707 h 930"/>
                    <a:gd name="T78" fmla="*/ 25 w 538"/>
                    <a:gd name="T79" fmla="*/ 634 h 930"/>
                    <a:gd name="T80" fmla="*/ 17 w 538"/>
                    <a:gd name="T81" fmla="*/ 627 h 930"/>
                    <a:gd name="T82" fmla="*/ 9 w 538"/>
                    <a:gd name="T83" fmla="*/ 618 h 930"/>
                    <a:gd name="T84" fmla="*/ 3 w 538"/>
                    <a:gd name="T85" fmla="*/ 608 h 930"/>
                    <a:gd name="T86" fmla="*/ 1 w 538"/>
                    <a:gd name="T87" fmla="*/ 599 h 930"/>
                    <a:gd name="T88" fmla="*/ 0 w 538"/>
                    <a:gd name="T89" fmla="*/ 403 h 930"/>
                    <a:gd name="T90" fmla="*/ 0 w 538"/>
                    <a:gd name="T91" fmla="*/ 204 h 930"/>
                    <a:gd name="T92" fmla="*/ 0 w 538"/>
                    <a:gd name="T93" fmla="*/ 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38" h="930">
                      <a:moveTo>
                        <a:pt x="0" y="0"/>
                      </a:moveTo>
                      <a:lnTo>
                        <a:pt x="32" y="25"/>
                      </a:lnTo>
                      <a:lnTo>
                        <a:pt x="62" y="47"/>
                      </a:lnTo>
                      <a:lnTo>
                        <a:pt x="89" y="68"/>
                      </a:lnTo>
                      <a:lnTo>
                        <a:pt x="107" y="80"/>
                      </a:lnTo>
                      <a:lnTo>
                        <a:pt x="125" y="93"/>
                      </a:lnTo>
                      <a:lnTo>
                        <a:pt x="144" y="105"/>
                      </a:lnTo>
                      <a:lnTo>
                        <a:pt x="161" y="117"/>
                      </a:lnTo>
                      <a:lnTo>
                        <a:pt x="178" y="131"/>
                      </a:lnTo>
                      <a:lnTo>
                        <a:pt x="191" y="145"/>
                      </a:lnTo>
                      <a:lnTo>
                        <a:pt x="202" y="161"/>
                      </a:lnTo>
                      <a:lnTo>
                        <a:pt x="208" y="179"/>
                      </a:lnTo>
                      <a:lnTo>
                        <a:pt x="211" y="199"/>
                      </a:lnTo>
                      <a:lnTo>
                        <a:pt x="212" y="219"/>
                      </a:lnTo>
                      <a:lnTo>
                        <a:pt x="211" y="241"/>
                      </a:lnTo>
                      <a:lnTo>
                        <a:pt x="209" y="263"/>
                      </a:lnTo>
                      <a:lnTo>
                        <a:pt x="207" y="284"/>
                      </a:lnTo>
                      <a:lnTo>
                        <a:pt x="206" y="306"/>
                      </a:lnTo>
                      <a:lnTo>
                        <a:pt x="205" y="386"/>
                      </a:lnTo>
                      <a:lnTo>
                        <a:pt x="202" y="466"/>
                      </a:lnTo>
                      <a:lnTo>
                        <a:pt x="202" y="483"/>
                      </a:lnTo>
                      <a:lnTo>
                        <a:pt x="207" y="498"/>
                      </a:lnTo>
                      <a:lnTo>
                        <a:pt x="216" y="509"/>
                      </a:lnTo>
                      <a:lnTo>
                        <a:pt x="231" y="519"/>
                      </a:lnTo>
                      <a:lnTo>
                        <a:pt x="312" y="563"/>
                      </a:lnTo>
                      <a:lnTo>
                        <a:pt x="392" y="607"/>
                      </a:lnTo>
                      <a:lnTo>
                        <a:pt x="473" y="650"/>
                      </a:lnTo>
                      <a:lnTo>
                        <a:pt x="489" y="662"/>
                      </a:lnTo>
                      <a:lnTo>
                        <a:pt x="501" y="674"/>
                      </a:lnTo>
                      <a:lnTo>
                        <a:pt x="508" y="690"/>
                      </a:lnTo>
                      <a:lnTo>
                        <a:pt x="512" y="709"/>
                      </a:lnTo>
                      <a:lnTo>
                        <a:pt x="519" y="779"/>
                      </a:lnTo>
                      <a:lnTo>
                        <a:pt x="528" y="852"/>
                      </a:lnTo>
                      <a:lnTo>
                        <a:pt x="538" y="930"/>
                      </a:lnTo>
                      <a:lnTo>
                        <a:pt x="470" y="890"/>
                      </a:lnTo>
                      <a:lnTo>
                        <a:pt x="405" y="853"/>
                      </a:lnTo>
                      <a:lnTo>
                        <a:pt x="341" y="816"/>
                      </a:lnTo>
                      <a:lnTo>
                        <a:pt x="278" y="780"/>
                      </a:lnTo>
                      <a:lnTo>
                        <a:pt x="151" y="707"/>
                      </a:lnTo>
                      <a:lnTo>
                        <a:pt x="25" y="634"/>
                      </a:lnTo>
                      <a:lnTo>
                        <a:pt x="17" y="627"/>
                      </a:lnTo>
                      <a:lnTo>
                        <a:pt x="9" y="618"/>
                      </a:lnTo>
                      <a:lnTo>
                        <a:pt x="3" y="608"/>
                      </a:lnTo>
                      <a:lnTo>
                        <a:pt x="1" y="599"/>
                      </a:lnTo>
                      <a:lnTo>
                        <a:pt x="0" y="403"/>
                      </a:lnTo>
                      <a:lnTo>
                        <a:pt x="0" y="204"/>
                      </a:lnTo>
                      <a:lnTo>
                        <a:pt x="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dirty="0">
                    <a:ln>
                      <a:noFill/>
                    </a:ln>
                    <a:solidFill>
                      <a:srgbClr val="505050"/>
                    </a:solidFill>
                    <a:effectLst/>
                    <a:uLnTx/>
                    <a:uFillTx/>
                    <a:latin typeface="Segoe UI"/>
                    <a:ea typeface="+mn-ea"/>
                    <a:cs typeface="+mn-cs"/>
                  </a:endParaRPr>
                </a:p>
              </p:txBody>
            </p:sp>
            <p:sp>
              <p:nvSpPr>
                <p:cNvPr id="36" name="Freeform 21"/>
                <p:cNvSpPr>
                  <a:spLocks/>
                </p:cNvSpPr>
                <p:nvPr/>
              </p:nvSpPr>
              <p:spPr bwMode="auto">
                <a:xfrm>
                  <a:off x="-6305217" y="6696326"/>
                  <a:ext cx="852488" cy="1470025"/>
                </a:xfrm>
                <a:custGeom>
                  <a:avLst/>
                  <a:gdLst>
                    <a:gd name="T0" fmla="*/ 534 w 537"/>
                    <a:gd name="T1" fmla="*/ 0 h 926"/>
                    <a:gd name="T2" fmla="*/ 535 w 537"/>
                    <a:gd name="T3" fmla="*/ 18 h 926"/>
                    <a:gd name="T4" fmla="*/ 536 w 537"/>
                    <a:gd name="T5" fmla="*/ 33 h 926"/>
                    <a:gd name="T6" fmla="*/ 537 w 537"/>
                    <a:gd name="T7" fmla="*/ 46 h 926"/>
                    <a:gd name="T8" fmla="*/ 536 w 537"/>
                    <a:gd name="T9" fmla="*/ 312 h 926"/>
                    <a:gd name="T10" fmla="*/ 537 w 537"/>
                    <a:gd name="T11" fmla="*/ 578 h 926"/>
                    <a:gd name="T12" fmla="*/ 535 w 537"/>
                    <a:gd name="T13" fmla="*/ 598 h 926"/>
                    <a:gd name="T14" fmla="*/ 530 w 537"/>
                    <a:gd name="T15" fmla="*/ 614 h 926"/>
                    <a:gd name="T16" fmla="*/ 520 w 537"/>
                    <a:gd name="T17" fmla="*/ 627 h 926"/>
                    <a:gd name="T18" fmla="*/ 503 w 537"/>
                    <a:gd name="T19" fmla="*/ 639 h 926"/>
                    <a:gd name="T20" fmla="*/ 268 w 537"/>
                    <a:gd name="T21" fmla="*/ 773 h 926"/>
                    <a:gd name="T22" fmla="*/ 35 w 537"/>
                    <a:gd name="T23" fmla="*/ 908 h 926"/>
                    <a:gd name="T24" fmla="*/ 26 w 537"/>
                    <a:gd name="T25" fmla="*/ 913 h 926"/>
                    <a:gd name="T26" fmla="*/ 15 w 537"/>
                    <a:gd name="T27" fmla="*/ 919 h 926"/>
                    <a:gd name="T28" fmla="*/ 0 w 537"/>
                    <a:gd name="T29" fmla="*/ 926 h 926"/>
                    <a:gd name="T30" fmla="*/ 11 w 537"/>
                    <a:gd name="T31" fmla="*/ 842 h 926"/>
                    <a:gd name="T32" fmla="*/ 20 w 537"/>
                    <a:gd name="T33" fmla="*/ 761 h 926"/>
                    <a:gd name="T34" fmla="*/ 31 w 537"/>
                    <a:gd name="T35" fmla="*/ 680 h 926"/>
                    <a:gd name="T36" fmla="*/ 35 w 537"/>
                    <a:gd name="T37" fmla="*/ 672 h 926"/>
                    <a:gd name="T38" fmla="*/ 43 w 537"/>
                    <a:gd name="T39" fmla="*/ 665 h 926"/>
                    <a:gd name="T40" fmla="*/ 52 w 537"/>
                    <a:gd name="T41" fmla="*/ 657 h 926"/>
                    <a:gd name="T42" fmla="*/ 61 w 537"/>
                    <a:gd name="T43" fmla="*/ 652 h 926"/>
                    <a:gd name="T44" fmla="*/ 182 w 537"/>
                    <a:gd name="T45" fmla="*/ 585 h 926"/>
                    <a:gd name="T46" fmla="*/ 303 w 537"/>
                    <a:gd name="T47" fmla="*/ 519 h 926"/>
                    <a:gd name="T48" fmla="*/ 316 w 537"/>
                    <a:gd name="T49" fmla="*/ 512 h 926"/>
                    <a:gd name="T50" fmla="*/ 325 w 537"/>
                    <a:gd name="T51" fmla="*/ 504 h 926"/>
                    <a:gd name="T52" fmla="*/ 330 w 537"/>
                    <a:gd name="T53" fmla="*/ 494 h 926"/>
                    <a:gd name="T54" fmla="*/ 334 w 537"/>
                    <a:gd name="T55" fmla="*/ 482 h 926"/>
                    <a:gd name="T56" fmla="*/ 334 w 537"/>
                    <a:gd name="T57" fmla="*/ 468 h 926"/>
                    <a:gd name="T58" fmla="*/ 330 w 537"/>
                    <a:gd name="T59" fmla="*/ 330 h 926"/>
                    <a:gd name="T60" fmla="*/ 327 w 537"/>
                    <a:gd name="T61" fmla="*/ 192 h 926"/>
                    <a:gd name="T62" fmla="*/ 328 w 537"/>
                    <a:gd name="T63" fmla="*/ 174 h 926"/>
                    <a:gd name="T64" fmla="*/ 332 w 537"/>
                    <a:gd name="T65" fmla="*/ 160 h 926"/>
                    <a:gd name="T66" fmla="*/ 340 w 537"/>
                    <a:gd name="T67" fmla="*/ 146 h 926"/>
                    <a:gd name="T68" fmla="*/ 354 w 537"/>
                    <a:gd name="T69" fmla="*/ 135 h 926"/>
                    <a:gd name="T70" fmla="*/ 413 w 537"/>
                    <a:gd name="T71" fmla="*/ 92 h 926"/>
                    <a:gd name="T72" fmla="*/ 472 w 537"/>
                    <a:gd name="T73" fmla="*/ 46 h 926"/>
                    <a:gd name="T74" fmla="*/ 534 w 537"/>
                    <a:gd name="T75" fmla="*/ 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7" h="926">
                      <a:moveTo>
                        <a:pt x="534" y="0"/>
                      </a:moveTo>
                      <a:lnTo>
                        <a:pt x="535" y="18"/>
                      </a:lnTo>
                      <a:lnTo>
                        <a:pt x="536" y="33"/>
                      </a:lnTo>
                      <a:lnTo>
                        <a:pt x="537" y="46"/>
                      </a:lnTo>
                      <a:lnTo>
                        <a:pt x="536" y="312"/>
                      </a:lnTo>
                      <a:lnTo>
                        <a:pt x="537" y="578"/>
                      </a:lnTo>
                      <a:lnTo>
                        <a:pt x="535" y="598"/>
                      </a:lnTo>
                      <a:lnTo>
                        <a:pt x="530" y="614"/>
                      </a:lnTo>
                      <a:lnTo>
                        <a:pt x="520" y="627"/>
                      </a:lnTo>
                      <a:lnTo>
                        <a:pt x="503" y="639"/>
                      </a:lnTo>
                      <a:lnTo>
                        <a:pt x="268" y="773"/>
                      </a:lnTo>
                      <a:lnTo>
                        <a:pt x="35" y="908"/>
                      </a:lnTo>
                      <a:lnTo>
                        <a:pt x="26" y="913"/>
                      </a:lnTo>
                      <a:lnTo>
                        <a:pt x="15" y="919"/>
                      </a:lnTo>
                      <a:lnTo>
                        <a:pt x="0" y="926"/>
                      </a:lnTo>
                      <a:lnTo>
                        <a:pt x="11" y="842"/>
                      </a:lnTo>
                      <a:lnTo>
                        <a:pt x="20" y="761"/>
                      </a:lnTo>
                      <a:lnTo>
                        <a:pt x="31" y="680"/>
                      </a:lnTo>
                      <a:lnTo>
                        <a:pt x="35" y="672"/>
                      </a:lnTo>
                      <a:lnTo>
                        <a:pt x="43" y="665"/>
                      </a:lnTo>
                      <a:lnTo>
                        <a:pt x="52" y="657"/>
                      </a:lnTo>
                      <a:lnTo>
                        <a:pt x="61" y="652"/>
                      </a:lnTo>
                      <a:lnTo>
                        <a:pt x="182" y="585"/>
                      </a:lnTo>
                      <a:lnTo>
                        <a:pt x="303" y="519"/>
                      </a:lnTo>
                      <a:lnTo>
                        <a:pt x="316" y="512"/>
                      </a:lnTo>
                      <a:lnTo>
                        <a:pt x="325" y="504"/>
                      </a:lnTo>
                      <a:lnTo>
                        <a:pt x="330" y="494"/>
                      </a:lnTo>
                      <a:lnTo>
                        <a:pt x="334" y="482"/>
                      </a:lnTo>
                      <a:lnTo>
                        <a:pt x="334" y="468"/>
                      </a:lnTo>
                      <a:lnTo>
                        <a:pt x="330" y="330"/>
                      </a:lnTo>
                      <a:lnTo>
                        <a:pt x="327" y="192"/>
                      </a:lnTo>
                      <a:lnTo>
                        <a:pt x="328" y="174"/>
                      </a:lnTo>
                      <a:lnTo>
                        <a:pt x="332" y="160"/>
                      </a:lnTo>
                      <a:lnTo>
                        <a:pt x="340" y="146"/>
                      </a:lnTo>
                      <a:lnTo>
                        <a:pt x="354" y="135"/>
                      </a:lnTo>
                      <a:lnTo>
                        <a:pt x="413" y="92"/>
                      </a:lnTo>
                      <a:lnTo>
                        <a:pt x="472" y="46"/>
                      </a:lnTo>
                      <a:lnTo>
                        <a:pt x="534"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dirty="0">
                    <a:ln>
                      <a:noFill/>
                    </a:ln>
                    <a:solidFill>
                      <a:srgbClr val="505050"/>
                    </a:solidFill>
                    <a:effectLst/>
                    <a:uLnTx/>
                    <a:uFillTx/>
                    <a:latin typeface="Segoe UI"/>
                    <a:ea typeface="+mn-ea"/>
                    <a:cs typeface="+mn-cs"/>
                  </a:endParaRPr>
                </a:p>
              </p:txBody>
            </p:sp>
          </p:grpSp>
          <p:sp>
            <p:nvSpPr>
              <p:cNvPr id="117" name="Freeform 88"/>
              <p:cNvSpPr>
                <a:spLocks noEditPoints="1"/>
              </p:cNvSpPr>
              <p:nvPr/>
            </p:nvSpPr>
            <p:spPr bwMode="black">
              <a:xfrm>
                <a:off x="5447630" y="4165626"/>
                <a:ext cx="1664226" cy="1411253"/>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marL="0" marR="0" lvl="0" indent="0" algn="ctr" defTabSz="726147"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120" normalizeH="0" baseline="0" noProof="0" dirty="0">
                  <a:ln>
                    <a:noFill/>
                  </a:ln>
                  <a:solidFill>
                    <a:srgbClr val="505050">
                      <a:lumMod val="50000"/>
                    </a:srgbClr>
                  </a:solidFill>
                  <a:effectLst/>
                  <a:uLnTx/>
                  <a:uFillTx/>
                  <a:latin typeface="Segoe Light" pitchFamily="34" charset="0"/>
                  <a:ea typeface="+mn-ea"/>
                  <a:cs typeface="+mn-cs"/>
                </a:endParaRPr>
              </a:p>
            </p:txBody>
          </p:sp>
        </p:grpSp>
      </p:grpSp>
      <p:grpSp>
        <p:nvGrpSpPr>
          <p:cNvPr id="41" name="Group 40"/>
          <p:cNvGrpSpPr/>
          <p:nvPr/>
        </p:nvGrpSpPr>
        <p:grpSpPr>
          <a:xfrm>
            <a:off x="9460067" y="1590805"/>
            <a:ext cx="2234480" cy="2115435"/>
            <a:chOff x="9649761" y="1622207"/>
            <a:chExt cx="2279286" cy="2157854"/>
          </a:xfrm>
        </p:grpSpPr>
        <p:sp>
          <p:nvSpPr>
            <p:cNvPr id="73" name="Rectangle 72"/>
            <p:cNvSpPr/>
            <p:nvPr/>
          </p:nvSpPr>
          <p:spPr bwMode="auto">
            <a:xfrm rot="10800000" flipV="1">
              <a:off x="9649761" y="1622207"/>
              <a:ext cx="2279286" cy="21578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p:nvSpPr>
          <p:spPr>
            <a:xfrm>
              <a:off x="9789782" y="2407352"/>
              <a:ext cx="2105368" cy="1169551"/>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FFFFFF"/>
                  </a:solidFill>
                  <a:effectLst/>
                  <a:uLnTx/>
                  <a:uFillTx/>
                  <a:latin typeface="Segoe UI"/>
                  <a:ea typeface="+mn-ea"/>
                  <a:cs typeface="Segoe UI Light"/>
                </a:rPr>
                <a:t>agree consumers have </a:t>
              </a:r>
              <a:r>
                <a:rPr kumimoji="0" lang="en-US" sz="1372" b="1" i="0" u="none" strike="noStrike" kern="1200" cap="none" spc="0" normalizeH="0" baseline="0" noProof="0" dirty="0">
                  <a:ln>
                    <a:noFill/>
                  </a:ln>
                  <a:solidFill>
                    <a:srgbClr val="FFFFFF"/>
                  </a:solidFill>
                  <a:effectLst/>
                  <a:uLnTx/>
                  <a:uFillTx/>
                  <a:latin typeface="Segoe UI"/>
                  <a:ea typeface="+mn-ea"/>
                  <a:cs typeface="+mn-cs"/>
                </a:rPr>
                <a:t>lost control </a:t>
              </a:r>
              <a:r>
                <a:rPr kumimoji="0" lang="en-US" sz="1372" b="0" i="0" u="none" strike="noStrike" kern="1200" cap="none" spc="0" normalizeH="0" baseline="0" noProof="0" dirty="0">
                  <a:ln>
                    <a:noFill/>
                  </a:ln>
                  <a:solidFill>
                    <a:srgbClr val="FFFFFF"/>
                  </a:solidFill>
                  <a:effectLst/>
                  <a:uLnTx/>
                  <a:uFillTx/>
                  <a:latin typeface="Segoe UI"/>
                  <a:ea typeface="+mn-ea"/>
                  <a:cs typeface="Segoe UI Light"/>
                </a:rPr>
                <a:t>over how personal information is collected and used by companies</a:t>
              </a:r>
              <a:r>
                <a:rPr kumimoji="0" lang="en-US" sz="1372" b="0" i="0" u="none" strike="noStrike" kern="1200" cap="none" spc="0" normalizeH="0" baseline="30000" noProof="0" dirty="0">
                  <a:ln>
                    <a:noFill/>
                  </a:ln>
                  <a:solidFill>
                    <a:srgbClr val="FFFFFF"/>
                  </a:solidFill>
                  <a:effectLst/>
                  <a:uLnTx/>
                  <a:uFillTx/>
                  <a:latin typeface="Segoe UI"/>
                  <a:ea typeface="+mn-ea"/>
                  <a:cs typeface="Segoe UI Light"/>
                </a:rPr>
                <a:t>5</a:t>
              </a:r>
            </a:p>
          </p:txBody>
        </p:sp>
        <p:sp>
          <p:nvSpPr>
            <p:cNvPr id="40" name="Rectangle 39"/>
            <p:cNvSpPr/>
            <p:nvPr/>
          </p:nvSpPr>
          <p:spPr>
            <a:xfrm>
              <a:off x="9750027" y="1690396"/>
              <a:ext cx="1367683" cy="923330"/>
            </a:xfrm>
            <a:prstGeom prst="rect">
              <a:avLst/>
            </a:prstGeom>
          </p:spPr>
          <p:txBody>
            <a:bodyPr wrap="none">
              <a:spAutoFit/>
            </a:bodyPr>
            <a:lstStyle/>
            <a:p>
              <a:pPr marL="0" marR="0" lvl="0" indent="0" algn="ctr" defTabSz="896386" rtl="0" eaLnBrk="1" fontAlgn="base" latinLnBrk="0" hangingPunct="1">
                <a:lnSpc>
                  <a:spcPct val="100000"/>
                </a:lnSpc>
                <a:spcBef>
                  <a:spcPts val="0"/>
                </a:spcBef>
                <a:spcAft>
                  <a:spcPts val="0"/>
                </a:spcAft>
                <a:buClrTx/>
                <a:buSzTx/>
                <a:buFontTx/>
                <a:buNone/>
                <a:tabLst/>
                <a:defRPr/>
              </a:pPr>
              <a:r>
                <a:rPr kumimoji="0" lang="en-US" sz="5294" b="0" i="0" u="none" strike="noStrike" kern="1200" cap="none" spc="-294" normalizeH="0" baseline="0" noProof="0" dirty="0">
                  <a:ln>
                    <a:noFill/>
                  </a:ln>
                  <a:solidFill>
                    <a:srgbClr val="FFFFFF"/>
                  </a:solidFill>
                  <a:effectLst/>
                  <a:uLnTx/>
                  <a:uFillTx/>
                  <a:latin typeface="Segoe UI Light"/>
                  <a:ea typeface="+mn-ea"/>
                  <a:cs typeface="+mn-cs"/>
                </a:rPr>
                <a:t>91% </a:t>
              </a:r>
            </a:p>
          </p:txBody>
        </p:sp>
      </p:grpSp>
      <p:grpSp>
        <p:nvGrpSpPr>
          <p:cNvPr id="95" name="Group 94"/>
          <p:cNvGrpSpPr/>
          <p:nvPr/>
        </p:nvGrpSpPr>
        <p:grpSpPr>
          <a:xfrm>
            <a:off x="7225479" y="1590805"/>
            <a:ext cx="2234480" cy="2115435"/>
            <a:chOff x="7370364" y="1622207"/>
            <a:chExt cx="2279286" cy="2157854"/>
          </a:xfrm>
        </p:grpSpPr>
        <p:sp>
          <p:nvSpPr>
            <p:cNvPr id="24" name="Rectangle 23"/>
            <p:cNvSpPr/>
            <p:nvPr/>
          </p:nvSpPr>
          <p:spPr bwMode="auto">
            <a:xfrm flipV="1">
              <a:off x="7370364" y="1622207"/>
              <a:ext cx="2279286" cy="21578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sng"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5" name="Group 54"/>
            <p:cNvGrpSpPr/>
            <p:nvPr/>
          </p:nvGrpSpPr>
          <p:grpSpPr>
            <a:xfrm>
              <a:off x="8026281" y="1958696"/>
              <a:ext cx="966779" cy="1453300"/>
              <a:chOff x="7935969" y="1834516"/>
              <a:chExt cx="1131540" cy="1700975"/>
            </a:xfrm>
          </p:grpSpPr>
          <p:sp>
            <p:nvSpPr>
              <p:cNvPr id="92" name="Oval 91"/>
              <p:cNvSpPr/>
              <p:nvPr/>
            </p:nvSpPr>
            <p:spPr>
              <a:xfrm>
                <a:off x="8126003" y="1834516"/>
                <a:ext cx="741054" cy="741054"/>
              </a:xfrm>
              <a:prstGeom prst="ellipse">
                <a:avLst/>
              </a:prstGeom>
              <a:solidFill>
                <a:srgbClr val="438204"/>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9" name="Down Arrow 88"/>
              <p:cNvSpPr/>
              <p:nvPr/>
            </p:nvSpPr>
            <p:spPr>
              <a:xfrm>
                <a:off x="7935969" y="2522425"/>
                <a:ext cx="1131540" cy="1013066"/>
              </a:xfrm>
              <a:custGeom>
                <a:avLst/>
                <a:gdLst/>
                <a:ahLst/>
                <a:cxnLst/>
                <a:rect l="l" t="t" r="r" b="b"/>
                <a:pathLst>
                  <a:path w="1065488" h="1013066">
                    <a:moveTo>
                      <a:pt x="266372" y="0"/>
                    </a:moveTo>
                    <a:cubicBezTo>
                      <a:pt x="333341" y="70328"/>
                      <a:pt x="427964" y="113821"/>
                      <a:pt x="532744" y="113821"/>
                    </a:cubicBezTo>
                    <a:cubicBezTo>
                      <a:pt x="637524" y="113821"/>
                      <a:pt x="732147" y="70328"/>
                      <a:pt x="799116" y="0"/>
                    </a:cubicBezTo>
                    <a:lnTo>
                      <a:pt x="799116" y="605996"/>
                    </a:lnTo>
                    <a:lnTo>
                      <a:pt x="1065488" y="605996"/>
                    </a:lnTo>
                    <a:lnTo>
                      <a:pt x="532744" y="1013066"/>
                    </a:lnTo>
                    <a:lnTo>
                      <a:pt x="0" y="605996"/>
                    </a:lnTo>
                    <a:lnTo>
                      <a:pt x="266372" y="605996"/>
                    </a:lnTo>
                    <a:close/>
                  </a:path>
                </a:pathLst>
              </a:custGeom>
              <a:solidFill>
                <a:srgbClr val="438204"/>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51" name="Freeform 7"/>
              <p:cNvSpPr>
                <a:spLocks noEditPoints="1"/>
              </p:cNvSpPr>
              <p:nvPr/>
            </p:nvSpPr>
            <p:spPr bwMode="auto">
              <a:xfrm>
                <a:off x="8346944" y="1952920"/>
                <a:ext cx="299172" cy="502106"/>
              </a:xfrm>
              <a:custGeom>
                <a:avLst/>
                <a:gdLst>
                  <a:gd name="T0" fmla="*/ 1279 w 2006"/>
                  <a:gd name="T1" fmla="*/ 2449 h 3360"/>
                  <a:gd name="T2" fmla="*/ 1343 w 2006"/>
                  <a:gd name="T3" fmla="*/ 2417 h 3360"/>
                  <a:gd name="T4" fmla="*/ 1403 w 2006"/>
                  <a:gd name="T5" fmla="*/ 2353 h 3360"/>
                  <a:gd name="T6" fmla="*/ 1434 w 2006"/>
                  <a:gd name="T7" fmla="*/ 2265 h 3360"/>
                  <a:gd name="T8" fmla="*/ 1425 w 2006"/>
                  <a:gd name="T9" fmla="*/ 2164 h 3360"/>
                  <a:gd name="T10" fmla="*/ 1376 w 2006"/>
                  <a:gd name="T11" fmla="*/ 2078 h 3360"/>
                  <a:gd name="T12" fmla="*/ 1290 w 2006"/>
                  <a:gd name="T13" fmla="*/ 2015 h 3360"/>
                  <a:gd name="T14" fmla="*/ 853 w 2006"/>
                  <a:gd name="T15" fmla="*/ 888 h 3360"/>
                  <a:gd name="T16" fmla="*/ 789 w 2006"/>
                  <a:gd name="T17" fmla="*/ 916 h 3360"/>
                  <a:gd name="T18" fmla="*/ 724 w 2006"/>
                  <a:gd name="T19" fmla="*/ 976 h 3360"/>
                  <a:gd name="T20" fmla="*/ 689 w 2006"/>
                  <a:gd name="T21" fmla="*/ 1058 h 3360"/>
                  <a:gd name="T22" fmla="*/ 697 w 2006"/>
                  <a:gd name="T23" fmla="*/ 1158 h 3360"/>
                  <a:gd name="T24" fmla="*/ 749 w 2006"/>
                  <a:gd name="T25" fmla="*/ 1239 h 3360"/>
                  <a:gd name="T26" fmla="*/ 838 w 2006"/>
                  <a:gd name="T27" fmla="*/ 1295 h 3360"/>
                  <a:gd name="T28" fmla="*/ 873 w 2006"/>
                  <a:gd name="T29" fmla="*/ 0 h 3360"/>
                  <a:gd name="T30" fmla="*/ 1330 w 2006"/>
                  <a:gd name="T31" fmla="*/ 369 h 3360"/>
                  <a:gd name="T32" fmla="*/ 1521 w 2006"/>
                  <a:gd name="T33" fmla="*/ 417 h 3360"/>
                  <a:gd name="T34" fmla="*/ 1678 w 2006"/>
                  <a:gd name="T35" fmla="*/ 491 h 3360"/>
                  <a:gd name="T36" fmla="*/ 1848 w 2006"/>
                  <a:gd name="T37" fmla="*/ 607 h 3360"/>
                  <a:gd name="T38" fmla="*/ 1587 w 2006"/>
                  <a:gd name="T39" fmla="*/ 1065 h 3360"/>
                  <a:gd name="T40" fmla="*/ 1500 w 2006"/>
                  <a:gd name="T41" fmla="*/ 995 h 3360"/>
                  <a:gd name="T42" fmla="*/ 1381 w 2006"/>
                  <a:gd name="T43" fmla="*/ 922 h 3360"/>
                  <a:gd name="T44" fmla="*/ 1258 w 2006"/>
                  <a:gd name="T45" fmla="*/ 875 h 3360"/>
                  <a:gd name="T46" fmla="*/ 1403 w 2006"/>
                  <a:gd name="T47" fmla="*/ 1476 h 3360"/>
                  <a:gd name="T48" fmla="*/ 1616 w 2006"/>
                  <a:gd name="T49" fmla="*/ 1572 h 3360"/>
                  <a:gd name="T50" fmla="*/ 1788 w 2006"/>
                  <a:gd name="T51" fmla="*/ 1697 h 3360"/>
                  <a:gd name="T52" fmla="*/ 1903 w 2006"/>
                  <a:gd name="T53" fmla="*/ 1836 h 3360"/>
                  <a:gd name="T54" fmla="*/ 1973 w 2006"/>
                  <a:gd name="T55" fmla="*/ 1986 h 3360"/>
                  <a:gd name="T56" fmla="*/ 2004 w 2006"/>
                  <a:gd name="T57" fmla="*/ 2159 h 3360"/>
                  <a:gd name="T58" fmla="*/ 1997 w 2006"/>
                  <a:gd name="T59" fmla="*/ 2343 h 3360"/>
                  <a:gd name="T60" fmla="*/ 1948 w 2006"/>
                  <a:gd name="T61" fmla="*/ 2506 h 3360"/>
                  <a:gd name="T62" fmla="*/ 1862 w 2006"/>
                  <a:gd name="T63" fmla="*/ 2646 h 3360"/>
                  <a:gd name="T64" fmla="*/ 1747 w 2006"/>
                  <a:gd name="T65" fmla="*/ 2763 h 3360"/>
                  <a:gd name="T66" fmla="*/ 1605 w 2006"/>
                  <a:gd name="T67" fmla="*/ 2858 h 3360"/>
                  <a:gd name="T68" fmla="*/ 1410 w 2006"/>
                  <a:gd name="T69" fmla="*/ 2936 h 3360"/>
                  <a:gd name="T70" fmla="*/ 1258 w 2006"/>
                  <a:gd name="T71" fmla="*/ 3360 h 3360"/>
                  <a:gd name="T72" fmla="*/ 791 w 2006"/>
                  <a:gd name="T73" fmla="*/ 2976 h 3360"/>
                  <a:gd name="T74" fmla="*/ 564 w 2006"/>
                  <a:gd name="T75" fmla="*/ 2924 h 3360"/>
                  <a:gd name="T76" fmla="*/ 362 w 2006"/>
                  <a:gd name="T77" fmla="*/ 2840 h 3360"/>
                  <a:gd name="T78" fmla="*/ 161 w 2006"/>
                  <a:gd name="T79" fmla="*/ 2712 h 3360"/>
                  <a:gd name="T80" fmla="*/ 0 w 2006"/>
                  <a:gd name="T81" fmla="*/ 2568 h 3360"/>
                  <a:gd name="T82" fmla="*/ 465 w 2006"/>
                  <a:gd name="T83" fmla="*/ 2262 h 3360"/>
                  <a:gd name="T84" fmla="*/ 661 w 2006"/>
                  <a:gd name="T85" fmla="*/ 2390 h 3360"/>
                  <a:gd name="T86" fmla="*/ 817 w 2006"/>
                  <a:gd name="T87" fmla="*/ 2452 h 3360"/>
                  <a:gd name="T88" fmla="*/ 828 w 2006"/>
                  <a:gd name="T89" fmla="*/ 1857 h 3360"/>
                  <a:gd name="T90" fmla="*/ 595 w 2006"/>
                  <a:gd name="T91" fmla="*/ 1772 h 3360"/>
                  <a:gd name="T92" fmla="*/ 406 w 2006"/>
                  <a:gd name="T93" fmla="*/ 1663 h 3360"/>
                  <a:gd name="T94" fmla="*/ 268 w 2006"/>
                  <a:gd name="T95" fmla="*/ 1533 h 3360"/>
                  <a:gd name="T96" fmla="*/ 180 w 2006"/>
                  <a:gd name="T97" fmla="*/ 1391 h 3360"/>
                  <a:gd name="T98" fmla="*/ 133 w 2006"/>
                  <a:gd name="T99" fmla="*/ 1225 h 3360"/>
                  <a:gd name="T100" fmla="*/ 127 w 2006"/>
                  <a:gd name="T101" fmla="*/ 1034 h 3360"/>
                  <a:gd name="T102" fmla="*/ 164 w 2006"/>
                  <a:gd name="T103" fmla="*/ 849 h 3360"/>
                  <a:gd name="T104" fmla="*/ 245 w 2006"/>
                  <a:gd name="T105" fmla="*/ 689 h 3360"/>
                  <a:gd name="T106" fmla="*/ 370 w 2006"/>
                  <a:gd name="T107" fmla="*/ 556 h 3360"/>
                  <a:gd name="T108" fmla="*/ 530 w 2006"/>
                  <a:gd name="T109" fmla="*/ 453 h 3360"/>
                  <a:gd name="T110" fmla="*/ 724 w 2006"/>
                  <a:gd name="T111" fmla="*/ 385 h 3360"/>
                  <a:gd name="T112" fmla="*/ 873 w 2006"/>
                  <a:gd name="T113" fmla="*/ 0 h 3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6" h="3360">
                    <a:moveTo>
                      <a:pt x="1258" y="2000"/>
                    </a:moveTo>
                    <a:lnTo>
                      <a:pt x="1258" y="2456"/>
                    </a:lnTo>
                    <a:lnTo>
                      <a:pt x="1279" y="2449"/>
                    </a:lnTo>
                    <a:lnTo>
                      <a:pt x="1299" y="2443"/>
                    </a:lnTo>
                    <a:lnTo>
                      <a:pt x="1319" y="2433"/>
                    </a:lnTo>
                    <a:lnTo>
                      <a:pt x="1343" y="2417"/>
                    </a:lnTo>
                    <a:lnTo>
                      <a:pt x="1365" y="2399"/>
                    </a:lnTo>
                    <a:lnTo>
                      <a:pt x="1386" y="2377"/>
                    </a:lnTo>
                    <a:lnTo>
                      <a:pt x="1403" y="2353"/>
                    </a:lnTo>
                    <a:lnTo>
                      <a:pt x="1417" y="2327"/>
                    </a:lnTo>
                    <a:lnTo>
                      <a:pt x="1427" y="2297"/>
                    </a:lnTo>
                    <a:lnTo>
                      <a:pt x="1434" y="2265"/>
                    </a:lnTo>
                    <a:lnTo>
                      <a:pt x="1436" y="2231"/>
                    </a:lnTo>
                    <a:lnTo>
                      <a:pt x="1433" y="2196"/>
                    </a:lnTo>
                    <a:lnTo>
                      <a:pt x="1425" y="2164"/>
                    </a:lnTo>
                    <a:lnTo>
                      <a:pt x="1413" y="2133"/>
                    </a:lnTo>
                    <a:lnTo>
                      <a:pt x="1397" y="2105"/>
                    </a:lnTo>
                    <a:lnTo>
                      <a:pt x="1376" y="2078"/>
                    </a:lnTo>
                    <a:lnTo>
                      <a:pt x="1349" y="2054"/>
                    </a:lnTo>
                    <a:lnTo>
                      <a:pt x="1319" y="2031"/>
                    </a:lnTo>
                    <a:lnTo>
                      <a:pt x="1290" y="2015"/>
                    </a:lnTo>
                    <a:lnTo>
                      <a:pt x="1258" y="2000"/>
                    </a:lnTo>
                    <a:close/>
                    <a:moveTo>
                      <a:pt x="873" y="882"/>
                    </a:moveTo>
                    <a:lnTo>
                      <a:pt x="853" y="888"/>
                    </a:lnTo>
                    <a:lnTo>
                      <a:pt x="834" y="893"/>
                    </a:lnTo>
                    <a:lnTo>
                      <a:pt x="816" y="901"/>
                    </a:lnTo>
                    <a:lnTo>
                      <a:pt x="789" y="916"/>
                    </a:lnTo>
                    <a:lnTo>
                      <a:pt x="765" y="934"/>
                    </a:lnTo>
                    <a:lnTo>
                      <a:pt x="743" y="954"/>
                    </a:lnTo>
                    <a:lnTo>
                      <a:pt x="724" y="976"/>
                    </a:lnTo>
                    <a:lnTo>
                      <a:pt x="708" y="1002"/>
                    </a:lnTo>
                    <a:lnTo>
                      <a:pt x="696" y="1029"/>
                    </a:lnTo>
                    <a:lnTo>
                      <a:pt x="689" y="1058"/>
                    </a:lnTo>
                    <a:lnTo>
                      <a:pt x="687" y="1089"/>
                    </a:lnTo>
                    <a:lnTo>
                      <a:pt x="690" y="1125"/>
                    </a:lnTo>
                    <a:lnTo>
                      <a:pt x="697" y="1158"/>
                    </a:lnTo>
                    <a:lnTo>
                      <a:pt x="710" y="1187"/>
                    </a:lnTo>
                    <a:lnTo>
                      <a:pt x="727" y="1215"/>
                    </a:lnTo>
                    <a:lnTo>
                      <a:pt x="749" y="1239"/>
                    </a:lnTo>
                    <a:lnTo>
                      <a:pt x="776" y="1262"/>
                    </a:lnTo>
                    <a:lnTo>
                      <a:pt x="808" y="1280"/>
                    </a:lnTo>
                    <a:lnTo>
                      <a:pt x="838" y="1295"/>
                    </a:lnTo>
                    <a:lnTo>
                      <a:pt x="873" y="1309"/>
                    </a:lnTo>
                    <a:lnTo>
                      <a:pt x="873" y="882"/>
                    </a:lnTo>
                    <a:close/>
                    <a:moveTo>
                      <a:pt x="873" y="0"/>
                    </a:moveTo>
                    <a:lnTo>
                      <a:pt x="1258" y="0"/>
                    </a:lnTo>
                    <a:lnTo>
                      <a:pt x="1258" y="358"/>
                    </a:lnTo>
                    <a:lnTo>
                      <a:pt x="1330" y="369"/>
                    </a:lnTo>
                    <a:lnTo>
                      <a:pt x="1398" y="382"/>
                    </a:lnTo>
                    <a:lnTo>
                      <a:pt x="1461" y="398"/>
                    </a:lnTo>
                    <a:lnTo>
                      <a:pt x="1521" y="417"/>
                    </a:lnTo>
                    <a:lnTo>
                      <a:pt x="1577" y="439"/>
                    </a:lnTo>
                    <a:lnTo>
                      <a:pt x="1630" y="463"/>
                    </a:lnTo>
                    <a:lnTo>
                      <a:pt x="1678" y="491"/>
                    </a:lnTo>
                    <a:lnTo>
                      <a:pt x="1740" y="530"/>
                    </a:lnTo>
                    <a:lnTo>
                      <a:pt x="1797" y="569"/>
                    </a:lnTo>
                    <a:lnTo>
                      <a:pt x="1848" y="607"/>
                    </a:lnTo>
                    <a:lnTo>
                      <a:pt x="1894" y="643"/>
                    </a:lnTo>
                    <a:lnTo>
                      <a:pt x="1934" y="679"/>
                    </a:lnTo>
                    <a:lnTo>
                      <a:pt x="1587" y="1065"/>
                    </a:lnTo>
                    <a:lnTo>
                      <a:pt x="1562" y="1043"/>
                    </a:lnTo>
                    <a:lnTo>
                      <a:pt x="1532" y="1019"/>
                    </a:lnTo>
                    <a:lnTo>
                      <a:pt x="1500" y="995"/>
                    </a:lnTo>
                    <a:lnTo>
                      <a:pt x="1463" y="970"/>
                    </a:lnTo>
                    <a:lnTo>
                      <a:pt x="1423" y="946"/>
                    </a:lnTo>
                    <a:lnTo>
                      <a:pt x="1381" y="922"/>
                    </a:lnTo>
                    <a:lnTo>
                      <a:pt x="1342" y="904"/>
                    </a:lnTo>
                    <a:lnTo>
                      <a:pt x="1301" y="889"/>
                    </a:lnTo>
                    <a:lnTo>
                      <a:pt x="1258" y="875"/>
                    </a:lnTo>
                    <a:lnTo>
                      <a:pt x="1258" y="1433"/>
                    </a:lnTo>
                    <a:lnTo>
                      <a:pt x="1331" y="1454"/>
                    </a:lnTo>
                    <a:lnTo>
                      <a:pt x="1403" y="1476"/>
                    </a:lnTo>
                    <a:lnTo>
                      <a:pt x="1475" y="1503"/>
                    </a:lnTo>
                    <a:lnTo>
                      <a:pt x="1548" y="1535"/>
                    </a:lnTo>
                    <a:lnTo>
                      <a:pt x="1616" y="1572"/>
                    </a:lnTo>
                    <a:lnTo>
                      <a:pt x="1681" y="1613"/>
                    </a:lnTo>
                    <a:lnTo>
                      <a:pt x="1742" y="1658"/>
                    </a:lnTo>
                    <a:lnTo>
                      <a:pt x="1788" y="1697"/>
                    </a:lnTo>
                    <a:lnTo>
                      <a:pt x="1830" y="1740"/>
                    </a:lnTo>
                    <a:lnTo>
                      <a:pt x="1868" y="1787"/>
                    </a:lnTo>
                    <a:lnTo>
                      <a:pt x="1903" y="1836"/>
                    </a:lnTo>
                    <a:lnTo>
                      <a:pt x="1934" y="1889"/>
                    </a:lnTo>
                    <a:lnTo>
                      <a:pt x="1955" y="1937"/>
                    </a:lnTo>
                    <a:lnTo>
                      <a:pt x="1973" y="1986"/>
                    </a:lnTo>
                    <a:lnTo>
                      <a:pt x="1987" y="2040"/>
                    </a:lnTo>
                    <a:lnTo>
                      <a:pt x="1998" y="2098"/>
                    </a:lnTo>
                    <a:lnTo>
                      <a:pt x="2004" y="2159"/>
                    </a:lnTo>
                    <a:lnTo>
                      <a:pt x="2006" y="2223"/>
                    </a:lnTo>
                    <a:lnTo>
                      <a:pt x="2004" y="2284"/>
                    </a:lnTo>
                    <a:lnTo>
                      <a:pt x="1997" y="2343"/>
                    </a:lnTo>
                    <a:lnTo>
                      <a:pt x="1984" y="2400"/>
                    </a:lnTo>
                    <a:lnTo>
                      <a:pt x="1968" y="2454"/>
                    </a:lnTo>
                    <a:lnTo>
                      <a:pt x="1948" y="2506"/>
                    </a:lnTo>
                    <a:lnTo>
                      <a:pt x="1922" y="2556"/>
                    </a:lnTo>
                    <a:lnTo>
                      <a:pt x="1894" y="2602"/>
                    </a:lnTo>
                    <a:lnTo>
                      <a:pt x="1862" y="2646"/>
                    </a:lnTo>
                    <a:lnTo>
                      <a:pt x="1828" y="2688"/>
                    </a:lnTo>
                    <a:lnTo>
                      <a:pt x="1789" y="2727"/>
                    </a:lnTo>
                    <a:lnTo>
                      <a:pt x="1747" y="2763"/>
                    </a:lnTo>
                    <a:lnTo>
                      <a:pt x="1702" y="2797"/>
                    </a:lnTo>
                    <a:lnTo>
                      <a:pt x="1655" y="2829"/>
                    </a:lnTo>
                    <a:lnTo>
                      <a:pt x="1605" y="2858"/>
                    </a:lnTo>
                    <a:lnTo>
                      <a:pt x="1552" y="2883"/>
                    </a:lnTo>
                    <a:lnTo>
                      <a:pt x="1482" y="2913"/>
                    </a:lnTo>
                    <a:lnTo>
                      <a:pt x="1410" y="2936"/>
                    </a:lnTo>
                    <a:lnTo>
                      <a:pt x="1336" y="2956"/>
                    </a:lnTo>
                    <a:lnTo>
                      <a:pt x="1258" y="2970"/>
                    </a:lnTo>
                    <a:lnTo>
                      <a:pt x="1258" y="3360"/>
                    </a:lnTo>
                    <a:lnTo>
                      <a:pt x="873" y="3360"/>
                    </a:lnTo>
                    <a:lnTo>
                      <a:pt x="873" y="2986"/>
                    </a:lnTo>
                    <a:lnTo>
                      <a:pt x="791" y="2976"/>
                    </a:lnTo>
                    <a:lnTo>
                      <a:pt x="713" y="2963"/>
                    </a:lnTo>
                    <a:lnTo>
                      <a:pt x="636" y="2946"/>
                    </a:lnTo>
                    <a:lnTo>
                      <a:pt x="564" y="2924"/>
                    </a:lnTo>
                    <a:lnTo>
                      <a:pt x="494" y="2900"/>
                    </a:lnTo>
                    <a:lnTo>
                      <a:pt x="427" y="2871"/>
                    </a:lnTo>
                    <a:lnTo>
                      <a:pt x="362" y="2840"/>
                    </a:lnTo>
                    <a:lnTo>
                      <a:pt x="290" y="2799"/>
                    </a:lnTo>
                    <a:lnTo>
                      <a:pt x="223" y="2757"/>
                    </a:lnTo>
                    <a:lnTo>
                      <a:pt x="161" y="2712"/>
                    </a:lnTo>
                    <a:lnTo>
                      <a:pt x="103" y="2667"/>
                    </a:lnTo>
                    <a:lnTo>
                      <a:pt x="49" y="2619"/>
                    </a:lnTo>
                    <a:lnTo>
                      <a:pt x="0" y="2568"/>
                    </a:lnTo>
                    <a:lnTo>
                      <a:pt x="362" y="2167"/>
                    </a:lnTo>
                    <a:lnTo>
                      <a:pt x="411" y="2216"/>
                    </a:lnTo>
                    <a:lnTo>
                      <a:pt x="465" y="2262"/>
                    </a:lnTo>
                    <a:lnTo>
                      <a:pt x="525" y="2306"/>
                    </a:lnTo>
                    <a:lnTo>
                      <a:pt x="591" y="2349"/>
                    </a:lnTo>
                    <a:lnTo>
                      <a:pt x="661" y="2390"/>
                    </a:lnTo>
                    <a:lnTo>
                      <a:pt x="712" y="2414"/>
                    </a:lnTo>
                    <a:lnTo>
                      <a:pt x="764" y="2434"/>
                    </a:lnTo>
                    <a:lnTo>
                      <a:pt x="817" y="2452"/>
                    </a:lnTo>
                    <a:lnTo>
                      <a:pt x="873" y="2465"/>
                    </a:lnTo>
                    <a:lnTo>
                      <a:pt x="873" y="1871"/>
                    </a:lnTo>
                    <a:lnTo>
                      <a:pt x="828" y="1857"/>
                    </a:lnTo>
                    <a:lnTo>
                      <a:pt x="745" y="1832"/>
                    </a:lnTo>
                    <a:lnTo>
                      <a:pt x="667" y="1803"/>
                    </a:lnTo>
                    <a:lnTo>
                      <a:pt x="595" y="1772"/>
                    </a:lnTo>
                    <a:lnTo>
                      <a:pt x="526" y="1738"/>
                    </a:lnTo>
                    <a:lnTo>
                      <a:pt x="464" y="1701"/>
                    </a:lnTo>
                    <a:lnTo>
                      <a:pt x="406" y="1663"/>
                    </a:lnTo>
                    <a:lnTo>
                      <a:pt x="353" y="1621"/>
                    </a:lnTo>
                    <a:lnTo>
                      <a:pt x="305" y="1576"/>
                    </a:lnTo>
                    <a:lnTo>
                      <a:pt x="268" y="1533"/>
                    </a:lnTo>
                    <a:lnTo>
                      <a:pt x="234" y="1489"/>
                    </a:lnTo>
                    <a:lnTo>
                      <a:pt x="205" y="1441"/>
                    </a:lnTo>
                    <a:lnTo>
                      <a:pt x="180" y="1391"/>
                    </a:lnTo>
                    <a:lnTo>
                      <a:pt x="161" y="1338"/>
                    </a:lnTo>
                    <a:lnTo>
                      <a:pt x="145" y="1283"/>
                    </a:lnTo>
                    <a:lnTo>
                      <a:pt x="133" y="1225"/>
                    </a:lnTo>
                    <a:lnTo>
                      <a:pt x="127" y="1165"/>
                    </a:lnTo>
                    <a:lnTo>
                      <a:pt x="124" y="1102"/>
                    </a:lnTo>
                    <a:lnTo>
                      <a:pt x="127" y="1034"/>
                    </a:lnTo>
                    <a:lnTo>
                      <a:pt x="134" y="969"/>
                    </a:lnTo>
                    <a:lnTo>
                      <a:pt x="147" y="908"/>
                    </a:lnTo>
                    <a:lnTo>
                      <a:pt x="164" y="849"/>
                    </a:lnTo>
                    <a:lnTo>
                      <a:pt x="186" y="793"/>
                    </a:lnTo>
                    <a:lnTo>
                      <a:pt x="213" y="740"/>
                    </a:lnTo>
                    <a:lnTo>
                      <a:pt x="245" y="689"/>
                    </a:lnTo>
                    <a:lnTo>
                      <a:pt x="282" y="641"/>
                    </a:lnTo>
                    <a:lnTo>
                      <a:pt x="324" y="597"/>
                    </a:lnTo>
                    <a:lnTo>
                      <a:pt x="370" y="556"/>
                    </a:lnTo>
                    <a:lnTo>
                      <a:pt x="419" y="518"/>
                    </a:lnTo>
                    <a:lnTo>
                      <a:pt x="473" y="484"/>
                    </a:lnTo>
                    <a:lnTo>
                      <a:pt x="530" y="453"/>
                    </a:lnTo>
                    <a:lnTo>
                      <a:pt x="592" y="427"/>
                    </a:lnTo>
                    <a:lnTo>
                      <a:pt x="656" y="404"/>
                    </a:lnTo>
                    <a:lnTo>
                      <a:pt x="724" y="385"/>
                    </a:lnTo>
                    <a:lnTo>
                      <a:pt x="796" y="370"/>
                    </a:lnTo>
                    <a:lnTo>
                      <a:pt x="873" y="358"/>
                    </a:lnTo>
                    <a:lnTo>
                      <a:pt x="873" y="0"/>
                    </a:lnTo>
                    <a:close/>
                  </a:path>
                </a:pathLst>
              </a:custGeom>
              <a:solidFill>
                <a:schemeClr val="bg1">
                  <a:lumMod val="95000"/>
                </a:schemeClr>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96" name="Group 95"/>
          <p:cNvGrpSpPr/>
          <p:nvPr/>
        </p:nvGrpSpPr>
        <p:grpSpPr>
          <a:xfrm>
            <a:off x="9461361" y="3706739"/>
            <a:ext cx="2234480" cy="2115435"/>
            <a:chOff x="9651080" y="3780570"/>
            <a:chExt cx="2279286" cy="2157854"/>
          </a:xfrm>
        </p:grpSpPr>
        <p:sp>
          <p:nvSpPr>
            <p:cNvPr id="72" name="Rectangle 71"/>
            <p:cNvSpPr/>
            <p:nvPr/>
          </p:nvSpPr>
          <p:spPr bwMode="auto">
            <a:xfrm rot="10800000" flipV="1">
              <a:off x="9651080" y="3780570"/>
              <a:ext cx="2279286" cy="21578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sng"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4" name="Group 83"/>
            <p:cNvGrpSpPr/>
            <p:nvPr/>
          </p:nvGrpSpPr>
          <p:grpSpPr>
            <a:xfrm>
              <a:off x="9985354" y="4200189"/>
              <a:ext cx="1537111" cy="1272239"/>
              <a:chOff x="9985354" y="4200189"/>
              <a:chExt cx="1537111" cy="1272239"/>
            </a:xfrm>
          </p:grpSpPr>
          <p:sp>
            <p:nvSpPr>
              <p:cNvPr id="59" name="Freeform 13"/>
              <p:cNvSpPr>
                <a:spLocks noEditPoints="1"/>
              </p:cNvSpPr>
              <p:nvPr/>
            </p:nvSpPr>
            <p:spPr bwMode="auto">
              <a:xfrm>
                <a:off x="9985354" y="4200189"/>
                <a:ext cx="718488" cy="718488"/>
              </a:xfrm>
              <a:custGeom>
                <a:avLst/>
                <a:gdLst>
                  <a:gd name="T0" fmla="*/ 1910 w 3434"/>
                  <a:gd name="T1" fmla="*/ 1678 h 3435"/>
                  <a:gd name="T2" fmla="*/ 2034 w 3434"/>
                  <a:gd name="T3" fmla="*/ 1802 h 3435"/>
                  <a:gd name="T4" fmla="*/ 2193 w 3434"/>
                  <a:gd name="T5" fmla="*/ 1876 h 3435"/>
                  <a:gd name="T6" fmla="*/ 2349 w 3434"/>
                  <a:gd name="T7" fmla="*/ 1889 h 3435"/>
                  <a:gd name="T8" fmla="*/ 2496 w 3434"/>
                  <a:gd name="T9" fmla="*/ 1820 h 3435"/>
                  <a:gd name="T10" fmla="*/ 2614 w 3434"/>
                  <a:gd name="T11" fmla="*/ 1674 h 3435"/>
                  <a:gd name="T12" fmla="*/ 2676 w 3434"/>
                  <a:gd name="T13" fmla="*/ 1483 h 3435"/>
                  <a:gd name="T14" fmla="*/ 704 w 3434"/>
                  <a:gd name="T15" fmla="*/ 1505 h 3435"/>
                  <a:gd name="T16" fmla="*/ 760 w 3434"/>
                  <a:gd name="T17" fmla="*/ 1655 h 3435"/>
                  <a:gd name="T18" fmla="*/ 837 w 3434"/>
                  <a:gd name="T19" fmla="*/ 1778 h 3435"/>
                  <a:gd name="T20" fmla="*/ 955 w 3434"/>
                  <a:gd name="T21" fmla="*/ 1863 h 3435"/>
                  <a:gd name="T22" fmla="*/ 1123 w 3434"/>
                  <a:gd name="T23" fmla="*/ 1892 h 3435"/>
                  <a:gd name="T24" fmla="*/ 1278 w 3434"/>
                  <a:gd name="T25" fmla="*/ 1847 h 3435"/>
                  <a:gd name="T26" fmla="*/ 1427 w 3434"/>
                  <a:gd name="T27" fmla="*/ 1748 h 3435"/>
                  <a:gd name="T28" fmla="*/ 1225 w 3434"/>
                  <a:gd name="T29" fmla="*/ 1599 h 3435"/>
                  <a:gd name="T30" fmla="*/ 678 w 3434"/>
                  <a:gd name="T31" fmla="*/ 1424 h 3435"/>
                  <a:gd name="T32" fmla="*/ 1909 w 3434"/>
                  <a:gd name="T33" fmla="*/ 338 h 3435"/>
                  <a:gd name="T34" fmla="*/ 2217 w 3434"/>
                  <a:gd name="T35" fmla="*/ 265 h 3435"/>
                  <a:gd name="T36" fmla="*/ 2411 w 3434"/>
                  <a:gd name="T37" fmla="*/ 396 h 3435"/>
                  <a:gd name="T38" fmla="*/ 2634 w 3434"/>
                  <a:gd name="T39" fmla="*/ 591 h 3435"/>
                  <a:gd name="T40" fmla="*/ 2900 w 3434"/>
                  <a:gd name="T41" fmla="*/ 608 h 3435"/>
                  <a:gd name="T42" fmla="*/ 2789 w 3434"/>
                  <a:gd name="T43" fmla="*/ 996 h 3435"/>
                  <a:gd name="T44" fmla="*/ 3192 w 3434"/>
                  <a:gd name="T45" fmla="*/ 1039 h 3435"/>
                  <a:gd name="T46" fmla="*/ 3108 w 3434"/>
                  <a:gd name="T47" fmla="*/ 1297 h 3435"/>
                  <a:gd name="T48" fmla="*/ 3160 w 3434"/>
                  <a:gd name="T49" fmla="*/ 1562 h 3435"/>
                  <a:gd name="T50" fmla="*/ 3342 w 3434"/>
                  <a:gd name="T51" fmla="*/ 1769 h 3435"/>
                  <a:gd name="T52" fmla="*/ 2982 w 3434"/>
                  <a:gd name="T53" fmla="*/ 1974 h 3435"/>
                  <a:gd name="T54" fmla="*/ 3231 w 3434"/>
                  <a:gd name="T55" fmla="*/ 2296 h 3435"/>
                  <a:gd name="T56" fmla="*/ 2918 w 3434"/>
                  <a:gd name="T57" fmla="*/ 2425 h 3435"/>
                  <a:gd name="T58" fmla="*/ 2856 w 3434"/>
                  <a:gd name="T59" fmla="*/ 2675 h 3435"/>
                  <a:gd name="T60" fmla="*/ 2828 w 3434"/>
                  <a:gd name="T61" fmla="*/ 2898 h 3435"/>
                  <a:gd name="T62" fmla="*/ 2439 w 3434"/>
                  <a:gd name="T63" fmla="*/ 2790 h 3435"/>
                  <a:gd name="T64" fmla="*/ 2394 w 3434"/>
                  <a:gd name="T65" fmla="*/ 3192 h 3435"/>
                  <a:gd name="T66" fmla="*/ 2140 w 3434"/>
                  <a:gd name="T67" fmla="*/ 3110 h 3435"/>
                  <a:gd name="T68" fmla="*/ 1873 w 3434"/>
                  <a:gd name="T69" fmla="*/ 3162 h 3435"/>
                  <a:gd name="T70" fmla="*/ 1651 w 3434"/>
                  <a:gd name="T71" fmla="*/ 3320 h 3435"/>
                  <a:gd name="T72" fmla="*/ 1378 w 3434"/>
                  <a:gd name="T73" fmla="*/ 3045 h 3435"/>
                  <a:gd name="T74" fmla="*/ 1049 w 3434"/>
                  <a:gd name="T75" fmla="*/ 3300 h 3435"/>
                  <a:gd name="T76" fmla="*/ 1009 w 3434"/>
                  <a:gd name="T77" fmla="*/ 2890 h 3435"/>
                  <a:gd name="T78" fmla="*/ 705 w 3434"/>
                  <a:gd name="T79" fmla="*/ 2871 h 3435"/>
                  <a:gd name="T80" fmla="*/ 562 w 3434"/>
                  <a:gd name="T81" fmla="*/ 2733 h 3435"/>
                  <a:gd name="T82" fmla="*/ 547 w 3434"/>
                  <a:gd name="T83" fmla="*/ 2428 h 3435"/>
                  <a:gd name="T84" fmla="*/ 139 w 3434"/>
                  <a:gd name="T85" fmla="*/ 2382 h 3435"/>
                  <a:gd name="T86" fmla="*/ 389 w 3434"/>
                  <a:gd name="T87" fmla="*/ 2055 h 3435"/>
                  <a:gd name="T88" fmla="*/ 184 w 3434"/>
                  <a:gd name="T89" fmla="*/ 1823 h 3435"/>
                  <a:gd name="T90" fmla="*/ 181 w 3434"/>
                  <a:gd name="T91" fmla="*/ 1615 h 3435"/>
                  <a:gd name="T92" fmla="*/ 400 w 3434"/>
                  <a:gd name="T93" fmla="*/ 1394 h 3435"/>
                  <a:gd name="T94" fmla="*/ 194 w 3434"/>
                  <a:gd name="T95" fmla="*/ 1126 h 3435"/>
                  <a:gd name="T96" fmla="*/ 439 w 3434"/>
                  <a:gd name="T97" fmla="*/ 1019 h 3435"/>
                  <a:gd name="T98" fmla="*/ 590 w 3434"/>
                  <a:gd name="T99" fmla="*/ 805 h 3435"/>
                  <a:gd name="T100" fmla="*/ 602 w 3434"/>
                  <a:gd name="T101" fmla="*/ 534 h 3435"/>
                  <a:gd name="T102" fmla="*/ 996 w 3434"/>
                  <a:gd name="T103" fmla="*/ 646 h 3435"/>
                  <a:gd name="T104" fmla="*/ 1039 w 3434"/>
                  <a:gd name="T105" fmla="*/ 243 h 3435"/>
                  <a:gd name="T106" fmla="*/ 1297 w 3434"/>
                  <a:gd name="T107" fmla="*/ 327 h 3435"/>
                  <a:gd name="T108" fmla="*/ 1562 w 3434"/>
                  <a:gd name="T109" fmla="*/ 273 h 3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34" h="3435">
                    <a:moveTo>
                      <a:pt x="2680" y="1432"/>
                    </a:moveTo>
                    <a:lnTo>
                      <a:pt x="2422" y="1514"/>
                    </a:lnTo>
                    <a:lnTo>
                      <a:pt x="2166" y="1596"/>
                    </a:lnTo>
                    <a:lnTo>
                      <a:pt x="1910" y="1678"/>
                    </a:lnTo>
                    <a:lnTo>
                      <a:pt x="1936" y="1714"/>
                    </a:lnTo>
                    <a:lnTo>
                      <a:pt x="1966" y="1745"/>
                    </a:lnTo>
                    <a:lnTo>
                      <a:pt x="1999" y="1776"/>
                    </a:lnTo>
                    <a:lnTo>
                      <a:pt x="2034" y="1802"/>
                    </a:lnTo>
                    <a:lnTo>
                      <a:pt x="2072" y="1826"/>
                    </a:lnTo>
                    <a:lnTo>
                      <a:pt x="2112" y="1846"/>
                    </a:lnTo>
                    <a:lnTo>
                      <a:pt x="2152" y="1864"/>
                    </a:lnTo>
                    <a:lnTo>
                      <a:pt x="2193" y="1876"/>
                    </a:lnTo>
                    <a:lnTo>
                      <a:pt x="2233" y="1886"/>
                    </a:lnTo>
                    <a:lnTo>
                      <a:pt x="2273" y="1891"/>
                    </a:lnTo>
                    <a:lnTo>
                      <a:pt x="2312" y="1893"/>
                    </a:lnTo>
                    <a:lnTo>
                      <a:pt x="2349" y="1889"/>
                    </a:lnTo>
                    <a:lnTo>
                      <a:pt x="2383" y="1881"/>
                    </a:lnTo>
                    <a:lnTo>
                      <a:pt x="2423" y="1866"/>
                    </a:lnTo>
                    <a:lnTo>
                      <a:pt x="2460" y="1846"/>
                    </a:lnTo>
                    <a:lnTo>
                      <a:pt x="2496" y="1820"/>
                    </a:lnTo>
                    <a:lnTo>
                      <a:pt x="2530" y="1789"/>
                    </a:lnTo>
                    <a:lnTo>
                      <a:pt x="2560" y="1755"/>
                    </a:lnTo>
                    <a:lnTo>
                      <a:pt x="2590" y="1716"/>
                    </a:lnTo>
                    <a:lnTo>
                      <a:pt x="2614" y="1674"/>
                    </a:lnTo>
                    <a:lnTo>
                      <a:pt x="2636" y="1630"/>
                    </a:lnTo>
                    <a:lnTo>
                      <a:pt x="2654" y="1583"/>
                    </a:lnTo>
                    <a:lnTo>
                      <a:pt x="2667" y="1534"/>
                    </a:lnTo>
                    <a:lnTo>
                      <a:pt x="2676" y="1483"/>
                    </a:lnTo>
                    <a:lnTo>
                      <a:pt x="2680" y="1432"/>
                    </a:lnTo>
                    <a:close/>
                    <a:moveTo>
                      <a:pt x="678" y="1424"/>
                    </a:moveTo>
                    <a:lnTo>
                      <a:pt x="691" y="1464"/>
                    </a:lnTo>
                    <a:lnTo>
                      <a:pt x="704" y="1505"/>
                    </a:lnTo>
                    <a:lnTo>
                      <a:pt x="717" y="1544"/>
                    </a:lnTo>
                    <a:lnTo>
                      <a:pt x="730" y="1583"/>
                    </a:lnTo>
                    <a:lnTo>
                      <a:pt x="745" y="1620"/>
                    </a:lnTo>
                    <a:lnTo>
                      <a:pt x="760" y="1655"/>
                    </a:lnTo>
                    <a:lnTo>
                      <a:pt x="776" y="1689"/>
                    </a:lnTo>
                    <a:lnTo>
                      <a:pt x="794" y="1720"/>
                    </a:lnTo>
                    <a:lnTo>
                      <a:pt x="814" y="1749"/>
                    </a:lnTo>
                    <a:lnTo>
                      <a:pt x="837" y="1778"/>
                    </a:lnTo>
                    <a:lnTo>
                      <a:pt x="862" y="1803"/>
                    </a:lnTo>
                    <a:lnTo>
                      <a:pt x="889" y="1825"/>
                    </a:lnTo>
                    <a:lnTo>
                      <a:pt x="921" y="1845"/>
                    </a:lnTo>
                    <a:lnTo>
                      <a:pt x="955" y="1863"/>
                    </a:lnTo>
                    <a:lnTo>
                      <a:pt x="994" y="1876"/>
                    </a:lnTo>
                    <a:lnTo>
                      <a:pt x="1038" y="1887"/>
                    </a:lnTo>
                    <a:lnTo>
                      <a:pt x="1081" y="1892"/>
                    </a:lnTo>
                    <a:lnTo>
                      <a:pt x="1123" y="1892"/>
                    </a:lnTo>
                    <a:lnTo>
                      <a:pt x="1163" y="1887"/>
                    </a:lnTo>
                    <a:lnTo>
                      <a:pt x="1202" y="1877"/>
                    </a:lnTo>
                    <a:lnTo>
                      <a:pt x="1240" y="1865"/>
                    </a:lnTo>
                    <a:lnTo>
                      <a:pt x="1278" y="1847"/>
                    </a:lnTo>
                    <a:lnTo>
                      <a:pt x="1315" y="1827"/>
                    </a:lnTo>
                    <a:lnTo>
                      <a:pt x="1352" y="1803"/>
                    </a:lnTo>
                    <a:lnTo>
                      <a:pt x="1389" y="1777"/>
                    </a:lnTo>
                    <a:lnTo>
                      <a:pt x="1427" y="1748"/>
                    </a:lnTo>
                    <a:lnTo>
                      <a:pt x="1465" y="1718"/>
                    </a:lnTo>
                    <a:lnTo>
                      <a:pt x="1502" y="1687"/>
                    </a:lnTo>
                    <a:lnTo>
                      <a:pt x="1362" y="1642"/>
                    </a:lnTo>
                    <a:lnTo>
                      <a:pt x="1225" y="1599"/>
                    </a:lnTo>
                    <a:lnTo>
                      <a:pt x="1089" y="1555"/>
                    </a:lnTo>
                    <a:lnTo>
                      <a:pt x="954" y="1512"/>
                    </a:lnTo>
                    <a:lnTo>
                      <a:pt x="818" y="1469"/>
                    </a:lnTo>
                    <a:lnTo>
                      <a:pt x="678" y="1424"/>
                    </a:lnTo>
                    <a:close/>
                    <a:moveTo>
                      <a:pt x="1716" y="0"/>
                    </a:moveTo>
                    <a:lnTo>
                      <a:pt x="1782" y="115"/>
                    </a:lnTo>
                    <a:lnTo>
                      <a:pt x="1846" y="227"/>
                    </a:lnTo>
                    <a:lnTo>
                      <a:pt x="1909" y="338"/>
                    </a:lnTo>
                    <a:lnTo>
                      <a:pt x="1974" y="451"/>
                    </a:lnTo>
                    <a:lnTo>
                      <a:pt x="2055" y="389"/>
                    </a:lnTo>
                    <a:lnTo>
                      <a:pt x="2136" y="327"/>
                    </a:lnTo>
                    <a:lnTo>
                      <a:pt x="2217" y="265"/>
                    </a:lnTo>
                    <a:lnTo>
                      <a:pt x="2298" y="203"/>
                    </a:lnTo>
                    <a:lnTo>
                      <a:pt x="2382" y="139"/>
                    </a:lnTo>
                    <a:lnTo>
                      <a:pt x="2397" y="269"/>
                    </a:lnTo>
                    <a:lnTo>
                      <a:pt x="2411" y="396"/>
                    </a:lnTo>
                    <a:lnTo>
                      <a:pt x="2424" y="521"/>
                    </a:lnTo>
                    <a:lnTo>
                      <a:pt x="2438" y="646"/>
                    </a:lnTo>
                    <a:lnTo>
                      <a:pt x="2537" y="618"/>
                    </a:lnTo>
                    <a:lnTo>
                      <a:pt x="2634" y="591"/>
                    </a:lnTo>
                    <a:lnTo>
                      <a:pt x="2730" y="563"/>
                    </a:lnTo>
                    <a:lnTo>
                      <a:pt x="2827" y="535"/>
                    </a:lnTo>
                    <a:lnTo>
                      <a:pt x="2928" y="506"/>
                    </a:lnTo>
                    <a:lnTo>
                      <a:pt x="2900" y="608"/>
                    </a:lnTo>
                    <a:lnTo>
                      <a:pt x="2871" y="706"/>
                    </a:lnTo>
                    <a:lnTo>
                      <a:pt x="2844" y="802"/>
                    </a:lnTo>
                    <a:lnTo>
                      <a:pt x="2817" y="899"/>
                    </a:lnTo>
                    <a:lnTo>
                      <a:pt x="2789" y="996"/>
                    </a:lnTo>
                    <a:lnTo>
                      <a:pt x="2890" y="1008"/>
                    </a:lnTo>
                    <a:lnTo>
                      <a:pt x="2991" y="1018"/>
                    </a:lnTo>
                    <a:lnTo>
                      <a:pt x="3090" y="1029"/>
                    </a:lnTo>
                    <a:lnTo>
                      <a:pt x="3192" y="1039"/>
                    </a:lnTo>
                    <a:lnTo>
                      <a:pt x="3297" y="1051"/>
                    </a:lnTo>
                    <a:lnTo>
                      <a:pt x="3233" y="1134"/>
                    </a:lnTo>
                    <a:lnTo>
                      <a:pt x="3170" y="1216"/>
                    </a:lnTo>
                    <a:lnTo>
                      <a:pt x="3108" y="1297"/>
                    </a:lnTo>
                    <a:lnTo>
                      <a:pt x="3045" y="1379"/>
                    </a:lnTo>
                    <a:lnTo>
                      <a:pt x="2981" y="1461"/>
                    </a:lnTo>
                    <a:lnTo>
                      <a:pt x="3072" y="1512"/>
                    </a:lnTo>
                    <a:lnTo>
                      <a:pt x="3160" y="1562"/>
                    </a:lnTo>
                    <a:lnTo>
                      <a:pt x="3249" y="1612"/>
                    </a:lnTo>
                    <a:lnTo>
                      <a:pt x="3340" y="1664"/>
                    </a:lnTo>
                    <a:lnTo>
                      <a:pt x="3434" y="1717"/>
                    </a:lnTo>
                    <a:lnTo>
                      <a:pt x="3342" y="1769"/>
                    </a:lnTo>
                    <a:lnTo>
                      <a:pt x="3253" y="1820"/>
                    </a:lnTo>
                    <a:lnTo>
                      <a:pt x="3164" y="1870"/>
                    </a:lnTo>
                    <a:lnTo>
                      <a:pt x="3075" y="1921"/>
                    </a:lnTo>
                    <a:lnTo>
                      <a:pt x="2982" y="1974"/>
                    </a:lnTo>
                    <a:lnTo>
                      <a:pt x="3044" y="2054"/>
                    </a:lnTo>
                    <a:lnTo>
                      <a:pt x="3105" y="2134"/>
                    </a:lnTo>
                    <a:lnTo>
                      <a:pt x="3167" y="2215"/>
                    </a:lnTo>
                    <a:lnTo>
                      <a:pt x="3231" y="2296"/>
                    </a:lnTo>
                    <a:lnTo>
                      <a:pt x="3296" y="2382"/>
                    </a:lnTo>
                    <a:lnTo>
                      <a:pt x="3168" y="2396"/>
                    </a:lnTo>
                    <a:lnTo>
                      <a:pt x="3043" y="2410"/>
                    </a:lnTo>
                    <a:lnTo>
                      <a:pt x="2918" y="2425"/>
                    </a:lnTo>
                    <a:lnTo>
                      <a:pt x="2789" y="2440"/>
                    </a:lnTo>
                    <a:lnTo>
                      <a:pt x="2812" y="2518"/>
                    </a:lnTo>
                    <a:lnTo>
                      <a:pt x="2834" y="2597"/>
                    </a:lnTo>
                    <a:lnTo>
                      <a:pt x="2856" y="2675"/>
                    </a:lnTo>
                    <a:lnTo>
                      <a:pt x="2879" y="2755"/>
                    </a:lnTo>
                    <a:lnTo>
                      <a:pt x="2903" y="2838"/>
                    </a:lnTo>
                    <a:lnTo>
                      <a:pt x="2928" y="2925"/>
                    </a:lnTo>
                    <a:lnTo>
                      <a:pt x="2828" y="2898"/>
                    </a:lnTo>
                    <a:lnTo>
                      <a:pt x="2732" y="2871"/>
                    </a:lnTo>
                    <a:lnTo>
                      <a:pt x="2636" y="2844"/>
                    </a:lnTo>
                    <a:lnTo>
                      <a:pt x="2539" y="2818"/>
                    </a:lnTo>
                    <a:lnTo>
                      <a:pt x="2439" y="2790"/>
                    </a:lnTo>
                    <a:lnTo>
                      <a:pt x="2427" y="2889"/>
                    </a:lnTo>
                    <a:lnTo>
                      <a:pt x="2417" y="2988"/>
                    </a:lnTo>
                    <a:lnTo>
                      <a:pt x="2405" y="3088"/>
                    </a:lnTo>
                    <a:lnTo>
                      <a:pt x="2394" y="3192"/>
                    </a:lnTo>
                    <a:lnTo>
                      <a:pt x="2381" y="3299"/>
                    </a:lnTo>
                    <a:lnTo>
                      <a:pt x="2301" y="3235"/>
                    </a:lnTo>
                    <a:lnTo>
                      <a:pt x="2220" y="3173"/>
                    </a:lnTo>
                    <a:lnTo>
                      <a:pt x="2140" y="3110"/>
                    </a:lnTo>
                    <a:lnTo>
                      <a:pt x="2059" y="3046"/>
                    </a:lnTo>
                    <a:lnTo>
                      <a:pt x="1976" y="2981"/>
                    </a:lnTo>
                    <a:lnTo>
                      <a:pt x="1923" y="3071"/>
                    </a:lnTo>
                    <a:lnTo>
                      <a:pt x="1873" y="3162"/>
                    </a:lnTo>
                    <a:lnTo>
                      <a:pt x="1822" y="3251"/>
                    </a:lnTo>
                    <a:lnTo>
                      <a:pt x="1769" y="3342"/>
                    </a:lnTo>
                    <a:lnTo>
                      <a:pt x="1716" y="3435"/>
                    </a:lnTo>
                    <a:lnTo>
                      <a:pt x="1651" y="3320"/>
                    </a:lnTo>
                    <a:lnTo>
                      <a:pt x="1588" y="3208"/>
                    </a:lnTo>
                    <a:lnTo>
                      <a:pt x="1524" y="3096"/>
                    </a:lnTo>
                    <a:lnTo>
                      <a:pt x="1460" y="2981"/>
                    </a:lnTo>
                    <a:lnTo>
                      <a:pt x="1378" y="3045"/>
                    </a:lnTo>
                    <a:lnTo>
                      <a:pt x="1297" y="3107"/>
                    </a:lnTo>
                    <a:lnTo>
                      <a:pt x="1216" y="3170"/>
                    </a:lnTo>
                    <a:lnTo>
                      <a:pt x="1135" y="3234"/>
                    </a:lnTo>
                    <a:lnTo>
                      <a:pt x="1049" y="3300"/>
                    </a:lnTo>
                    <a:lnTo>
                      <a:pt x="1038" y="3194"/>
                    </a:lnTo>
                    <a:lnTo>
                      <a:pt x="1029" y="3091"/>
                    </a:lnTo>
                    <a:lnTo>
                      <a:pt x="1018" y="2992"/>
                    </a:lnTo>
                    <a:lnTo>
                      <a:pt x="1009" y="2890"/>
                    </a:lnTo>
                    <a:lnTo>
                      <a:pt x="998" y="2788"/>
                    </a:lnTo>
                    <a:lnTo>
                      <a:pt x="900" y="2816"/>
                    </a:lnTo>
                    <a:lnTo>
                      <a:pt x="802" y="2844"/>
                    </a:lnTo>
                    <a:lnTo>
                      <a:pt x="705" y="2871"/>
                    </a:lnTo>
                    <a:lnTo>
                      <a:pt x="607" y="2901"/>
                    </a:lnTo>
                    <a:lnTo>
                      <a:pt x="504" y="2930"/>
                    </a:lnTo>
                    <a:lnTo>
                      <a:pt x="533" y="2829"/>
                    </a:lnTo>
                    <a:lnTo>
                      <a:pt x="562" y="2733"/>
                    </a:lnTo>
                    <a:lnTo>
                      <a:pt x="589" y="2637"/>
                    </a:lnTo>
                    <a:lnTo>
                      <a:pt x="617" y="2539"/>
                    </a:lnTo>
                    <a:lnTo>
                      <a:pt x="646" y="2440"/>
                    </a:lnTo>
                    <a:lnTo>
                      <a:pt x="547" y="2428"/>
                    </a:lnTo>
                    <a:lnTo>
                      <a:pt x="447" y="2417"/>
                    </a:lnTo>
                    <a:lnTo>
                      <a:pt x="348" y="2405"/>
                    </a:lnTo>
                    <a:lnTo>
                      <a:pt x="245" y="2394"/>
                    </a:lnTo>
                    <a:lnTo>
                      <a:pt x="139" y="2382"/>
                    </a:lnTo>
                    <a:lnTo>
                      <a:pt x="203" y="2297"/>
                    </a:lnTo>
                    <a:lnTo>
                      <a:pt x="266" y="2216"/>
                    </a:lnTo>
                    <a:lnTo>
                      <a:pt x="327" y="2136"/>
                    </a:lnTo>
                    <a:lnTo>
                      <a:pt x="389" y="2055"/>
                    </a:lnTo>
                    <a:lnTo>
                      <a:pt x="452" y="1974"/>
                    </a:lnTo>
                    <a:lnTo>
                      <a:pt x="361" y="1922"/>
                    </a:lnTo>
                    <a:lnTo>
                      <a:pt x="272" y="1873"/>
                    </a:lnTo>
                    <a:lnTo>
                      <a:pt x="184" y="1823"/>
                    </a:lnTo>
                    <a:lnTo>
                      <a:pt x="93" y="1771"/>
                    </a:lnTo>
                    <a:lnTo>
                      <a:pt x="0" y="1718"/>
                    </a:lnTo>
                    <a:lnTo>
                      <a:pt x="92" y="1666"/>
                    </a:lnTo>
                    <a:lnTo>
                      <a:pt x="181" y="1615"/>
                    </a:lnTo>
                    <a:lnTo>
                      <a:pt x="270" y="1564"/>
                    </a:lnTo>
                    <a:lnTo>
                      <a:pt x="359" y="1513"/>
                    </a:lnTo>
                    <a:lnTo>
                      <a:pt x="452" y="1460"/>
                    </a:lnTo>
                    <a:lnTo>
                      <a:pt x="400" y="1394"/>
                    </a:lnTo>
                    <a:lnTo>
                      <a:pt x="350" y="1328"/>
                    </a:lnTo>
                    <a:lnTo>
                      <a:pt x="299" y="1262"/>
                    </a:lnTo>
                    <a:lnTo>
                      <a:pt x="247" y="1195"/>
                    </a:lnTo>
                    <a:lnTo>
                      <a:pt x="194" y="1126"/>
                    </a:lnTo>
                    <a:lnTo>
                      <a:pt x="137" y="1053"/>
                    </a:lnTo>
                    <a:lnTo>
                      <a:pt x="240" y="1042"/>
                    </a:lnTo>
                    <a:lnTo>
                      <a:pt x="340" y="1031"/>
                    </a:lnTo>
                    <a:lnTo>
                      <a:pt x="439" y="1019"/>
                    </a:lnTo>
                    <a:lnTo>
                      <a:pt x="541" y="1008"/>
                    </a:lnTo>
                    <a:lnTo>
                      <a:pt x="644" y="996"/>
                    </a:lnTo>
                    <a:lnTo>
                      <a:pt x="617" y="900"/>
                    </a:lnTo>
                    <a:lnTo>
                      <a:pt x="590" y="805"/>
                    </a:lnTo>
                    <a:lnTo>
                      <a:pt x="562" y="707"/>
                    </a:lnTo>
                    <a:lnTo>
                      <a:pt x="533" y="609"/>
                    </a:lnTo>
                    <a:lnTo>
                      <a:pt x="504" y="506"/>
                    </a:lnTo>
                    <a:lnTo>
                      <a:pt x="602" y="534"/>
                    </a:lnTo>
                    <a:lnTo>
                      <a:pt x="700" y="561"/>
                    </a:lnTo>
                    <a:lnTo>
                      <a:pt x="796" y="590"/>
                    </a:lnTo>
                    <a:lnTo>
                      <a:pt x="895" y="618"/>
                    </a:lnTo>
                    <a:lnTo>
                      <a:pt x="996" y="646"/>
                    </a:lnTo>
                    <a:lnTo>
                      <a:pt x="1007" y="546"/>
                    </a:lnTo>
                    <a:lnTo>
                      <a:pt x="1017" y="446"/>
                    </a:lnTo>
                    <a:lnTo>
                      <a:pt x="1028" y="346"/>
                    </a:lnTo>
                    <a:lnTo>
                      <a:pt x="1039" y="243"/>
                    </a:lnTo>
                    <a:lnTo>
                      <a:pt x="1050" y="135"/>
                    </a:lnTo>
                    <a:lnTo>
                      <a:pt x="1135" y="201"/>
                    </a:lnTo>
                    <a:lnTo>
                      <a:pt x="1216" y="265"/>
                    </a:lnTo>
                    <a:lnTo>
                      <a:pt x="1297" y="327"/>
                    </a:lnTo>
                    <a:lnTo>
                      <a:pt x="1378" y="390"/>
                    </a:lnTo>
                    <a:lnTo>
                      <a:pt x="1459" y="454"/>
                    </a:lnTo>
                    <a:lnTo>
                      <a:pt x="1512" y="362"/>
                    </a:lnTo>
                    <a:lnTo>
                      <a:pt x="1562" y="273"/>
                    </a:lnTo>
                    <a:lnTo>
                      <a:pt x="1612" y="184"/>
                    </a:lnTo>
                    <a:lnTo>
                      <a:pt x="1664" y="93"/>
                    </a:lnTo>
                    <a:lnTo>
                      <a:pt x="1716" y="0"/>
                    </a:lnTo>
                    <a:close/>
                  </a:path>
                </a:pathLst>
              </a:custGeom>
              <a:solidFill>
                <a:schemeClr val="accent6"/>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grpSp>
            <p:nvGrpSpPr>
              <p:cNvPr id="83" name="Group 82"/>
              <p:cNvGrpSpPr/>
              <p:nvPr/>
            </p:nvGrpSpPr>
            <p:grpSpPr>
              <a:xfrm>
                <a:off x="10408331" y="4520059"/>
                <a:ext cx="1114134" cy="952369"/>
                <a:chOff x="-3609975" y="1683540"/>
                <a:chExt cx="1693510" cy="1447624"/>
              </a:xfrm>
              <a:solidFill>
                <a:schemeClr val="accent6"/>
              </a:solidFill>
            </p:grpSpPr>
            <p:sp>
              <p:nvSpPr>
                <p:cNvPr id="76" name="Freeform 19"/>
                <p:cNvSpPr>
                  <a:spLocks/>
                </p:cNvSpPr>
                <p:nvPr/>
              </p:nvSpPr>
              <p:spPr bwMode="auto">
                <a:xfrm>
                  <a:off x="-3609975" y="1886456"/>
                  <a:ext cx="1693510" cy="1244708"/>
                </a:xfrm>
                <a:custGeom>
                  <a:avLst/>
                  <a:gdLst>
                    <a:gd name="T0" fmla="*/ 2485 w 3547"/>
                    <a:gd name="T1" fmla="*/ 0 h 2607"/>
                    <a:gd name="T2" fmla="*/ 3430 w 3547"/>
                    <a:gd name="T3" fmla="*/ 4 h 2607"/>
                    <a:gd name="T4" fmla="*/ 3483 w 3547"/>
                    <a:gd name="T5" fmla="*/ 16 h 2607"/>
                    <a:gd name="T6" fmla="*/ 3519 w 3547"/>
                    <a:gd name="T7" fmla="*/ 44 h 2607"/>
                    <a:gd name="T8" fmla="*/ 3539 w 3547"/>
                    <a:gd name="T9" fmla="*/ 88 h 2607"/>
                    <a:gd name="T10" fmla="*/ 3546 w 3547"/>
                    <a:gd name="T11" fmla="*/ 149 h 2607"/>
                    <a:gd name="T12" fmla="*/ 3547 w 3547"/>
                    <a:gd name="T13" fmla="*/ 2421 h 2607"/>
                    <a:gd name="T14" fmla="*/ 3543 w 3547"/>
                    <a:gd name="T15" fmla="*/ 2507 h 2607"/>
                    <a:gd name="T16" fmla="*/ 3526 w 3547"/>
                    <a:gd name="T17" fmla="*/ 2554 h 2607"/>
                    <a:gd name="T18" fmla="*/ 3493 w 3547"/>
                    <a:gd name="T19" fmla="*/ 2588 h 2607"/>
                    <a:gd name="T20" fmla="*/ 3445 w 3547"/>
                    <a:gd name="T21" fmla="*/ 2604 h 2607"/>
                    <a:gd name="T22" fmla="*/ 3241 w 3547"/>
                    <a:gd name="T23" fmla="*/ 2607 h 2607"/>
                    <a:gd name="T24" fmla="*/ 1649 w 3547"/>
                    <a:gd name="T25" fmla="*/ 2607 h 2607"/>
                    <a:gd name="T26" fmla="*/ 103 w 3547"/>
                    <a:gd name="T27" fmla="*/ 2604 h 2607"/>
                    <a:gd name="T28" fmla="*/ 54 w 3547"/>
                    <a:gd name="T29" fmla="*/ 2587 h 2607"/>
                    <a:gd name="T30" fmla="*/ 20 w 3547"/>
                    <a:gd name="T31" fmla="*/ 2553 h 2607"/>
                    <a:gd name="T32" fmla="*/ 3 w 3547"/>
                    <a:gd name="T33" fmla="*/ 2506 h 2607"/>
                    <a:gd name="T34" fmla="*/ 1 w 3547"/>
                    <a:gd name="T35" fmla="*/ 1314 h 2607"/>
                    <a:gd name="T36" fmla="*/ 2 w 3547"/>
                    <a:gd name="T37" fmla="*/ 122 h 2607"/>
                    <a:gd name="T38" fmla="*/ 16 w 3547"/>
                    <a:gd name="T39" fmla="*/ 70 h 2607"/>
                    <a:gd name="T40" fmla="*/ 45 w 3547"/>
                    <a:gd name="T41" fmla="*/ 33 h 2607"/>
                    <a:gd name="T42" fmla="*/ 89 w 3547"/>
                    <a:gd name="T43" fmla="*/ 9 h 2607"/>
                    <a:gd name="T44" fmla="*/ 151 w 3547"/>
                    <a:gd name="T45" fmla="*/ 0 h 2607"/>
                    <a:gd name="T46" fmla="*/ 1278 w 3547"/>
                    <a:gd name="T47" fmla="*/ 0 h 2607"/>
                    <a:gd name="T48" fmla="*/ 1308 w 3547"/>
                    <a:gd name="T49" fmla="*/ 5 h 2607"/>
                    <a:gd name="T50" fmla="*/ 1325 w 3547"/>
                    <a:gd name="T51" fmla="*/ 20 h 2607"/>
                    <a:gd name="T52" fmla="*/ 1331 w 3547"/>
                    <a:gd name="T53" fmla="*/ 49 h 2607"/>
                    <a:gd name="T54" fmla="*/ 1345 w 3547"/>
                    <a:gd name="T55" fmla="*/ 177 h 2607"/>
                    <a:gd name="T56" fmla="*/ 1229 w 3547"/>
                    <a:gd name="T57" fmla="*/ 244 h 2607"/>
                    <a:gd name="T58" fmla="*/ 695 w 3547"/>
                    <a:gd name="T59" fmla="*/ 244 h 2607"/>
                    <a:gd name="T60" fmla="*/ 265 w 3547"/>
                    <a:gd name="T61" fmla="*/ 244 h 2607"/>
                    <a:gd name="T62" fmla="*/ 245 w 3547"/>
                    <a:gd name="T63" fmla="*/ 255 h 2607"/>
                    <a:gd name="T64" fmla="*/ 241 w 3547"/>
                    <a:gd name="T65" fmla="*/ 283 h 2607"/>
                    <a:gd name="T66" fmla="*/ 242 w 3547"/>
                    <a:gd name="T67" fmla="*/ 2299 h 2607"/>
                    <a:gd name="T68" fmla="*/ 575 w 3547"/>
                    <a:gd name="T69" fmla="*/ 2366 h 2607"/>
                    <a:gd name="T70" fmla="*/ 3069 w 3547"/>
                    <a:gd name="T71" fmla="*/ 2366 h 2607"/>
                    <a:gd name="T72" fmla="*/ 3278 w 3547"/>
                    <a:gd name="T73" fmla="*/ 2366 h 2607"/>
                    <a:gd name="T74" fmla="*/ 3297 w 3547"/>
                    <a:gd name="T75" fmla="*/ 2359 h 2607"/>
                    <a:gd name="T76" fmla="*/ 3306 w 3547"/>
                    <a:gd name="T77" fmla="*/ 2340 h 2607"/>
                    <a:gd name="T78" fmla="*/ 3306 w 3547"/>
                    <a:gd name="T79" fmla="*/ 800 h 2607"/>
                    <a:gd name="T80" fmla="*/ 3307 w 3547"/>
                    <a:gd name="T81" fmla="*/ 285 h 2607"/>
                    <a:gd name="T82" fmla="*/ 3302 w 3547"/>
                    <a:gd name="T83" fmla="*/ 259 h 2607"/>
                    <a:gd name="T84" fmla="*/ 3288 w 3547"/>
                    <a:gd name="T85" fmla="*/ 246 h 2607"/>
                    <a:gd name="T86" fmla="*/ 3264 w 3547"/>
                    <a:gd name="T87" fmla="*/ 243 h 2607"/>
                    <a:gd name="T88" fmla="*/ 2292 w 3547"/>
                    <a:gd name="T89" fmla="*/ 244 h 2607"/>
                    <a:gd name="T90" fmla="*/ 2251 w 3547"/>
                    <a:gd name="T91" fmla="*/ 168 h 2607"/>
                    <a:gd name="T92" fmla="*/ 2269 w 3547"/>
                    <a:gd name="T93" fmla="*/ 24 h 2607"/>
                    <a:gd name="T94" fmla="*/ 2281 w 3547"/>
                    <a:gd name="T95" fmla="*/ 10 h 2607"/>
                    <a:gd name="T96" fmla="*/ 2302 w 3547"/>
                    <a:gd name="T97" fmla="*/ 2 h 2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47" h="2607">
                      <a:moveTo>
                        <a:pt x="2394" y="0"/>
                      </a:moveTo>
                      <a:lnTo>
                        <a:pt x="2485" y="0"/>
                      </a:lnTo>
                      <a:lnTo>
                        <a:pt x="3397" y="1"/>
                      </a:lnTo>
                      <a:lnTo>
                        <a:pt x="3430" y="4"/>
                      </a:lnTo>
                      <a:lnTo>
                        <a:pt x="3459" y="8"/>
                      </a:lnTo>
                      <a:lnTo>
                        <a:pt x="3483" y="16"/>
                      </a:lnTo>
                      <a:lnTo>
                        <a:pt x="3504" y="28"/>
                      </a:lnTo>
                      <a:lnTo>
                        <a:pt x="3519" y="44"/>
                      </a:lnTo>
                      <a:lnTo>
                        <a:pt x="3530" y="64"/>
                      </a:lnTo>
                      <a:lnTo>
                        <a:pt x="3539" y="88"/>
                      </a:lnTo>
                      <a:lnTo>
                        <a:pt x="3544" y="116"/>
                      </a:lnTo>
                      <a:lnTo>
                        <a:pt x="3546" y="149"/>
                      </a:lnTo>
                      <a:lnTo>
                        <a:pt x="3546" y="2365"/>
                      </a:lnTo>
                      <a:lnTo>
                        <a:pt x="3547" y="2421"/>
                      </a:lnTo>
                      <a:lnTo>
                        <a:pt x="3546" y="2477"/>
                      </a:lnTo>
                      <a:lnTo>
                        <a:pt x="3543" y="2507"/>
                      </a:lnTo>
                      <a:lnTo>
                        <a:pt x="3536" y="2533"/>
                      </a:lnTo>
                      <a:lnTo>
                        <a:pt x="3526" y="2554"/>
                      </a:lnTo>
                      <a:lnTo>
                        <a:pt x="3511" y="2573"/>
                      </a:lnTo>
                      <a:lnTo>
                        <a:pt x="3493" y="2588"/>
                      </a:lnTo>
                      <a:lnTo>
                        <a:pt x="3471" y="2597"/>
                      </a:lnTo>
                      <a:lnTo>
                        <a:pt x="3445" y="2604"/>
                      </a:lnTo>
                      <a:lnTo>
                        <a:pt x="3416" y="2607"/>
                      </a:lnTo>
                      <a:lnTo>
                        <a:pt x="3241" y="2607"/>
                      </a:lnTo>
                      <a:lnTo>
                        <a:pt x="3064" y="2607"/>
                      </a:lnTo>
                      <a:lnTo>
                        <a:pt x="1649" y="2607"/>
                      </a:lnTo>
                      <a:lnTo>
                        <a:pt x="133" y="2606"/>
                      </a:lnTo>
                      <a:lnTo>
                        <a:pt x="103" y="2604"/>
                      </a:lnTo>
                      <a:lnTo>
                        <a:pt x="76" y="2597"/>
                      </a:lnTo>
                      <a:lnTo>
                        <a:pt x="54" y="2587"/>
                      </a:lnTo>
                      <a:lnTo>
                        <a:pt x="34" y="2573"/>
                      </a:lnTo>
                      <a:lnTo>
                        <a:pt x="20" y="2553"/>
                      </a:lnTo>
                      <a:lnTo>
                        <a:pt x="10" y="2532"/>
                      </a:lnTo>
                      <a:lnTo>
                        <a:pt x="3" y="2506"/>
                      </a:lnTo>
                      <a:lnTo>
                        <a:pt x="1" y="2476"/>
                      </a:lnTo>
                      <a:lnTo>
                        <a:pt x="1" y="1314"/>
                      </a:lnTo>
                      <a:lnTo>
                        <a:pt x="0" y="151"/>
                      </a:lnTo>
                      <a:lnTo>
                        <a:pt x="2" y="122"/>
                      </a:lnTo>
                      <a:lnTo>
                        <a:pt x="6" y="95"/>
                      </a:lnTo>
                      <a:lnTo>
                        <a:pt x="16" y="70"/>
                      </a:lnTo>
                      <a:lnTo>
                        <a:pt x="29" y="50"/>
                      </a:lnTo>
                      <a:lnTo>
                        <a:pt x="45" y="33"/>
                      </a:lnTo>
                      <a:lnTo>
                        <a:pt x="66" y="19"/>
                      </a:lnTo>
                      <a:lnTo>
                        <a:pt x="89" y="9"/>
                      </a:lnTo>
                      <a:lnTo>
                        <a:pt x="118" y="2"/>
                      </a:lnTo>
                      <a:lnTo>
                        <a:pt x="151" y="0"/>
                      </a:lnTo>
                      <a:lnTo>
                        <a:pt x="715" y="2"/>
                      </a:lnTo>
                      <a:lnTo>
                        <a:pt x="1278" y="0"/>
                      </a:lnTo>
                      <a:lnTo>
                        <a:pt x="1295" y="1"/>
                      </a:lnTo>
                      <a:lnTo>
                        <a:pt x="1308" y="5"/>
                      </a:lnTo>
                      <a:lnTo>
                        <a:pt x="1317" y="10"/>
                      </a:lnTo>
                      <a:lnTo>
                        <a:pt x="1325" y="20"/>
                      </a:lnTo>
                      <a:lnTo>
                        <a:pt x="1329" y="32"/>
                      </a:lnTo>
                      <a:lnTo>
                        <a:pt x="1331" y="49"/>
                      </a:lnTo>
                      <a:lnTo>
                        <a:pt x="1337" y="112"/>
                      </a:lnTo>
                      <a:lnTo>
                        <a:pt x="1345" y="177"/>
                      </a:lnTo>
                      <a:lnTo>
                        <a:pt x="1353" y="244"/>
                      </a:lnTo>
                      <a:lnTo>
                        <a:pt x="1229" y="244"/>
                      </a:lnTo>
                      <a:lnTo>
                        <a:pt x="1110" y="244"/>
                      </a:lnTo>
                      <a:lnTo>
                        <a:pt x="695" y="244"/>
                      </a:lnTo>
                      <a:lnTo>
                        <a:pt x="282" y="243"/>
                      </a:lnTo>
                      <a:lnTo>
                        <a:pt x="265" y="244"/>
                      </a:lnTo>
                      <a:lnTo>
                        <a:pt x="253" y="248"/>
                      </a:lnTo>
                      <a:lnTo>
                        <a:pt x="245" y="255"/>
                      </a:lnTo>
                      <a:lnTo>
                        <a:pt x="242" y="267"/>
                      </a:lnTo>
                      <a:lnTo>
                        <a:pt x="241" y="283"/>
                      </a:lnTo>
                      <a:lnTo>
                        <a:pt x="242" y="2236"/>
                      </a:lnTo>
                      <a:lnTo>
                        <a:pt x="242" y="2299"/>
                      </a:lnTo>
                      <a:lnTo>
                        <a:pt x="242" y="2366"/>
                      </a:lnTo>
                      <a:lnTo>
                        <a:pt x="575" y="2366"/>
                      </a:lnTo>
                      <a:lnTo>
                        <a:pt x="2875" y="2366"/>
                      </a:lnTo>
                      <a:lnTo>
                        <a:pt x="3069" y="2366"/>
                      </a:lnTo>
                      <a:lnTo>
                        <a:pt x="3262" y="2367"/>
                      </a:lnTo>
                      <a:lnTo>
                        <a:pt x="3278" y="2366"/>
                      </a:lnTo>
                      <a:lnTo>
                        <a:pt x="3288" y="2364"/>
                      </a:lnTo>
                      <a:lnTo>
                        <a:pt x="3297" y="2359"/>
                      </a:lnTo>
                      <a:lnTo>
                        <a:pt x="3302" y="2351"/>
                      </a:lnTo>
                      <a:lnTo>
                        <a:pt x="3306" y="2340"/>
                      </a:lnTo>
                      <a:lnTo>
                        <a:pt x="3307" y="2325"/>
                      </a:lnTo>
                      <a:lnTo>
                        <a:pt x="3306" y="800"/>
                      </a:lnTo>
                      <a:lnTo>
                        <a:pt x="3304" y="543"/>
                      </a:lnTo>
                      <a:lnTo>
                        <a:pt x="3307" y="285"/>
                      </a:lnTo>
                      <a:lnTo>
                        <a:pt x="3306" y="269"/>
                      </a:lnTo>
                      <a:lnTo>
                        <a:pt x="3302" y="259"/>
                      </a:lnTo>
                      <a:lnTo>
                        <a:pt x="3297" y="250"/>
                      </a:lnTo>
                      <a:lnTo>
                        <a:pt x="3288" y="246"/>
                      </a:lnTo>
                      <a:lnTo>
                        <a:pt x="3278" y="244"/>
                      </a:lnTo>
                      <a:lnTo>
                        <a:pt x="3264" y="243"/>
                      </a:lnTo>
                      <a:lnTo>
                        <a:pt x="2777" y="244"/>
                      </a:lnTo>
                      <a:lnTo>
                        <a:pt x="2292" y="244"/>
                      </a:lnTo>
                      <a:lnTo>
                        <a:pt x="2242" y="244"/>
                      </a:lnTo>
                      <a:lnTo>
                        <a:pt x="2251" y="168"/>
                      </a:lnTo>
                      <a:lnTo>
                        <a:pt x="2259" y="96"/>
                      </a:lnTo>
                      <a:lnTo>
                        <a:pt x="2269" y="24"/>
                      </a:lnTo>
                      <a:lnTo>
                        <a:pt x="2272" y="18"/>
                      </a:lnTo>
                      <a:lnTo>
                        <a:pt x="2281" y="10"/>
                      </a:lnTo>
                      <a:lnTo>
                        <a:pt x="2292" y="5"/>
                      </a:lnTo>
                      <a:lnTo>
                        <a:pt x="2302" y="2"/>
                      </a:lnTo>
                      <a:lnTo>
                        <a:pt x="2394"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sp>
              <p:nvSpPr>
                <p:cNvPr id="77" name="Freeform 20"/>
                <p:cNvSpPr>
                  <a:spLocks/>
                </p:cNvSpPr>
                <p:nvPr/>
              </p:nvSpPr>
              <p:spPr bwMode="auto">
                <a:xfrm>
                  <a:off x="-2896667" y="1683540"/>
                  <a:ext cx="289334" cy="411083"/>
                </a:xfrm>
                <a:custGeom>
                  <a:avLst/>
                  <a:gdLst>
                    <a:gd name="T0" fmla="*/ 390 w 606"/>
                    <a:gd name="T1" fmla="*/ 0 h 861"/>
                    <a:gd name="T2" fmla="*/ 474 w 606"/>
                    <a:gd name="T3" fmla="*/ 1 h 861"/>
                    <a:gd name="T4" fmla="*/ 505 w 606"/>
                    <a:gd name="T5" fmla="*/ 4 h 861"/>
                    <a:gd name="T6" fmla="*/ 531 w 606"/>
                    <a:gd name="T7" fmla="*/ 11 h 861"/>
                    <a:gd name="T8" fmla="*/ 553 w 606"/>
                    <a:gd name="T9" fmla="*/ 22 h 861"/>
                    <a:gd name="T10" fmla="*/ 573 w 606"/>
                    <a:gd name="T11" fmla="*/ 37 h 861"/>
                    <a:gd name="T12" fmla="*/ 587 w 606"/>
                    <a:gd name="T13" fmla="*/ 54 h 861"/>
                    <a:gd name="T14" fmla="*/ 597 w 606"/>
                    <a:gd name="T15" fmla="*/ 75 h 861"/>
                    <a:gd name="T16" fmla="*/ 604 w 606"/>
                    <a:gd name="T17" fmla="*/ 100 h 861"/>
                    <a:gd name="T18" fmla="*/ 606 w 606"/>
                    <a:gd name="T19" fmla="*/ 128 h 861"/>
                    <a:gd name="T20" fmla="*/ 605 w 606"/>
                    <a:gd name="T21" fmla="*/ 159 h 861"/>
                    <a:gd name="T22" fmla="*/ 537 w 606"/>
                    <a:gd name="T23" fmla="*/ 730 h 861"/>
                    <a:gd name="T24" fmla="*/ 532 w 606"/>
                    <a:gd name="T25" fmla="*/ 761 h 861"/>
                    <a:gd name="T26" fmla="*/ 523 w 606"/>
                    <a:gd name="T27" fmla="*/ 789 h 861"/>
                    <a:gd name="T28" fmla="*/ 511 w 606"/>
                    <a:gd name="T29" fmla="*/ 812 h 861"/>
                    <a:gd name="T30" fmla="*/ 495 w 606"/>
                    <a:gd name="T31" fmla="*/ 830 h 861"/>
                    <a:gd name="T32" fmla="*/ 476 w 606"/>
                    <a:gd name="T33" fmla="*/ 844 h 861"/>
                    <a:gd name="T34" fmla="*/ 452 w 606"/>
                    <a:gd name="T35" fmla="*/ 854 h 861"/>
                    <a:gd name="T36" fmla="*/ 424 w 606"/>
                    <a:gd name="T37" fmla="*/ 859 h 861"/>
                    <a:gd name="T38" fmla="*/ 391 w 606"/>
                    <a:gd name="T39" fmla="*/ 861 h 861"/>
                    <a:gd name="T40" fmla="*/ 293 w 606"/>
                    <a:gd name="T41" fmla="*/ 861 h 861"/>
                    <a:gd name="T42" fmla="*/ 195 w 606"/>
                    <a:gd name="T43" fmla="*/ 860 h 861"/>
                    <a:gd name="T44" fmla="*/ 168 w 606"/>
                    <a:gd name="T45" fmla="*/ 858 h 861"/>
                    <a:gd name="T46" fmla="*/ 143 w 606"/>
                    <a:gd name="T47" fmla="*/ 851 h 861"/>
                    <a:gd name="T48" fmla="*/ 123 w 606"/>
                    <a:gd name="T49" fmla="*/ 840 h 861"/>
                    <a:gd name="T50" fmla="*/ 105 w 606"/>
                    <a:gd name="T51" fmla="*/ 825 h 861"/>
                    <a:gd name="T52" fmla="*/ 91 w 606"/>
                    <a:gd name="T53" fmla="*/ 806 h 861"/>
                    <a:gd name="T54" fmla="*/ 81 w 606"/>
                    <a:gd name="T55" fmla="*/ 783 h 861"/>
                    <a:gd name="T56" fmla="*/ 75 w 606"/>
                    <a:gd name="T57" fmla="*/ 756 h 861"/>
                    <a:gd name="T58" fmla="*/ 43 w 606"/>
                    <a:gd name="T59" fmla="*/ 497 h 861"/>
                    <a:gd name="T60" fmla="*/ 12 w 606"/>
                    <a:gd name="T61" fmla="*/ 237 h 861"/>
                    <a:gd name="T62" fmla="*/ 1 w 606"/>
                    <a:gd name="T63" fmla="*/ 138 h 861"/>
                    <a:gd name="T64" fmla="*/ 0 w 606"/>
                    <a:gd name="T65" fmla="*/ 113 h 861"/>
                    <a:gd name="T66" fmla="*/ 4 w 606"/>
                    <a:gd name="T67" fmla="*/ 89 h 861"/>
                    <a:gd name="T68" fmla="*/ 12 w 606"/>
                    <a:gd name="T69" fmla="*/ 69 h 861"/>
                    <a:gd name="T70" fmla="*/ 24 w 606"/>
                    <a:gd name="T71" fmla="*/ 50 h 861"/>
                    <a:gd name="T72" fmla="*/ 39 w 606"/>
                    <a:gd name="T73" fmla="*/ 33 h 861"/>
                    <a:gd name="T74" fmla="*/ 57 w 606"/>
                    <a:gd name="T75" fmla="*/ 20 h 861"/>
                    <a:gd name="T76" fmla="*/ 79 w 606"/>
                    <a:gd name="T77" fmla="*/ 11 h 861"/>
                    <a:gd name="T78" fmla="*/ 103 w 606"/>
                    <a:gd name="T79" fmla="*/ 4 h 861"/>
                    <a:gd name="T80" fmla="*/ 137 w 606"/>
                    <a:gd name="T81" fmla="*/ 2 h 861"/>
                    <a:gd name="T82" fmla="*/ 171 w 606"/>
                    <a:gd name="T83" fmla="*/ 1 h 861"/>
                    <a:gd name="T84" fmla="*/ 207 w 606"/>
                    <a:gd name="T85" fmla="*/ 1 h 861"/>
                    <a:gd name="T86" fmla="*/ 306 w 606"/>
                    <a:gd name="T87" fmla="*/ 1 h 861"/>
                    <a:gd name="T88" fmla="*/ 306 w 606"/>
                    <a:gd name="T89" fmla="*/ 1 h 861"/>
                    <a:gd name="T90" fmla="*/ 390 w 606"/>
                    <a:gd name="T91" fmla="*/ 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6" h="861">
                      <a:moveTo>
                        <a:pt x="390" y="0"/>
                      </a:moveTo>
                      <a:lnTo>
                        <a:pt x="474" y="1"/>
                      </a:lnTo>
                      <a:lnTo>
                        <a:pt x="505" y="4"/>
                      </a:lnTo>
                      <a:lnTo>
                        <a:pt x="531" y="11"/>
                      </a:lnTo>
                      <a:lnTo>
                        <a:pt x="553" y="22"/>
                      </a:lnTo>
                      <a:lnTo>
                        <a:pt x="573" y="37"/>
                      </a:lnTo>
                      <a:lnTo>
                        <a:pt x="587" y="54"/>
                      </a:lnTo>
                      <a:lnTo>
                        <a:pt x="597" y="75"/>
                      </a:lnTo>
                      <a:lnTo>
                        <a:pt x="604" y="100"/>
                      </a:lnTo>
                      <a:lnTo>
                        <a:pt x="606" y="128"/>
                      </a:lnTo>
                      <a:lnTo>
                        <a:pt x="605" y="159"/>
                      </a:lnTo>
                      <a:lnTo>
                        <a:pt x="537" y="730"/>
                      </a:lnTo>
                      <a:lnTo>
                        <a:pt x="532" y="761"/>
                      </a:lnTo>
                      <a:lnTo>
                        <a:pt x="523" y="789"/>
                      </a:lnTo>
                      <a:lnTo>
                        <a:pt x="511" y="812"/>
                      </a:lnTo>
                      <a:lnTo>
                        <a:pt x="495" y="830"/>
                      </a:lnTo>
                      <a:lnTo>
                        <a:pt x="476" y="844"/>
                      </a:lnTo>
                      <a:lnTo>
                        <a:pt x="452" y="854"/>
                      </a:lnTo>
                      <a:lnTo>
                        <a:pt x="424" y="859"/>
                      </a:lnTo>
                      <a:lnTo>
                        <a:pt x="391" y="861"/>
                      </a:lnTo>
                      <a:lnTo>
                        <a:pt x="293" y="861"/>
                      </a:lnTo>
                      <a:lnTo>
                        <a:pt x="195" y="860"/>
                      </a:lnTo>
                      <a:lnTo>
                        <a:pt x="168" y="858"/>
                      </a:lnTo>
                      <a:lnTo>
                        <a:pt x="143" y="851"/>
                      </a:lnTo>
                      <a:lnTo>
                        <a:pt x="123" y="840"/>
                      </a:lnTo>
                      <a:lnTo>
                        <a:pt x="105" y="825"/>
                      </a:lnTo>
                      <a:lnTo>
                        <a:pt x="91" y="806"/>
                      </a:lnTo>
                      <a:lnTo>
                        <a:pt x="81" y="783"/>
                      </a:lnTo>
                      <a:lnTo>
                        <a:pt x="75" y="756"/>
                      </a:lnTo>
                      <a:lnTo>
                        <a:pt x="43" y="497"/>
                      </a:lnTo>
                      <a:lnTo>
                        <a:pt x="12" y="237"/>
                      </a:lnTo>
                      <a:lnTo>
                        <a:pt x="1" y="138"/>
                      </a:lnTo>
                      <a:lnTo>
                        <a:pt x="0" y="113"/>
                      </a:lnTo>
                      <a:lnTo>
                        <a:pt x="4" y="89"/>
                      </a:lnTo>
                      <a:lnTo>
                        <a:pt x="12" y="69"/>
                      </a:lnTo>
                      <a:lnTo>
                        <a:pt x="24" y="50"/>
                      </a:lnTo>
                      <a:lnTo>
                        <a:pt x="39" y="33"/>
                      </a:lnTo>
                      <a:lnTo>
                        <a:pt x="57" y="20"/>
                      </a:lnTo>
                      <a:lnTo>
                        <a:pt x="79" y="11"/>
                      </a:lnTo>
                      <a:lnTo>
                        <a:pt x="103" y="4"/>
                      </a:lnTo>
                      <a:lnTo>
                        <a:pt x="137" y="2"/>
                      </a:lnTo>
                      <a:lnTo>
                        <a:pt x="171" y="1"/>
                      </a:lnTo>
                      <a:lnTo>
                        <a:pt x="207" y="1"/>
                      </a:lnTo>
                      <a:lnTo>
                        <a:pt x="306" y="1"/>
                      </a:lnTo>
                      <a:lnTo>
                        <a:pt x="306" y="1"/>
                      </a:lnTo>
                      <a:lnTo>
                        <a:pt x="39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sp>
              <p:nvSpPr>
                <p:cNvPr id="78" name="Freeform 21"/>
                <p:cNvSpPr>
                  <a:spLocks/>
                </p:cNvSpPr>
                <p:nvPr/>
              </p:nvSpPr>
              <p:spPr bwMode="auto">
                <a:xfrm>
                  <a:off x="-3365999" y="2662310"/>
                  <a:ext cx="653150" cy="188115"/>
                </a:xfrm>
                <a:custGeom>
                  <a:avLst/>
                  <a:gdLst>
                    <a:gd name="T0" fmla="*/ 477 w 1368"/>
                    <a:gd name="T1" fmla="*/ 0 h 394"/>
                    <a:gd name="T2" fmla="*/ 496 w 1368"/>
                    <a:gd name="T3" fmla="*/ 2 h 394"/>
                    <a:gd name="T4" fmla="*/ 514 w 1368"/>
                    <a:gd name="T5" fmla="*/ 7 h 394"/>
                    <a:gd name="T6" fmla="*/ 570 w 1368"/>
                    <a:gd name="T7" fmla="*/ 25 h 394"/>
                    <a:gd name="T8" fmla="*/ 627 w 1368"/>
                    <a:gd name="T9" fmla="*/ 36 h 394"/>
                    <a:gd name="T10" fmla="*/ 683 w 1368"/>
                    <a:gd name="T11" fmla="*/ 40 h 394"/>
                    <a:gd name="T12" fmla="*/ 739 w 1368"/>
                    <a:gd name="T13" fmla="*/ 36 h 394"/>
                    <a:gd name="T14" fmla="*/ 796 w 1368"/>
                    <a:gd name="T15" fmla="*/ 26 h 394"/>
                    <a:gd name="T16" fmla="*/ 853 w 1368"/>
                    <a:gd name="T17" fmla="*/ 9 h 394"/>
                    <a:gd name="T18" fmla="*/ 871 w 1368"/>
                    <a:gd name="T19" fmla="*/ 3 h 394"/>
                    <a:gd name="T20" fmla="*/ 890 w 1368"/>
                    <a:gd name="T21" fmla="*/ 0 h 394"/>
                    <a:gd name="T22" fmla="*/ 910 w 1368"/>
                    <a:gd name="T23" fmla="*/ 0 h 394"/>
                    <a:gd name="T24" fmla="*/ 929 w 1368"/>
                    <a:gd name="T25" fmla="*/ 3 h 394"/>
                    <a:gd name="T26" fmla="*/ 995 w 1368"/>
                    <a:gd name="T27" fmla="*/ 23 h 394"/>
                    <a:gd name="T28" fmla="*/ 1058 w 1368"/>
                    <a:gd name="T29" fmla="*/ 46 h 394"/>
                    <a:gd name="T30" fmla="*/ 1119 w 1368"/>
                    <a:gd name="T31" fmla="*/ 75 h 394"/>
                    <a:gd name="T32" fmla="*/ 1178 w 1368"/>
                    <a:gd name="T33" fmla="*/ 108 h 394"/>
                    <a:gd name="T34" fmla="*/ 1234 w 1368"/>
                    <a:gd name="T35" fmla="*/ 144 h 394"/>
                    <a:gd name="T36" fmla="*/ 1288 w 1368"/>
                    <a:gd name="T37" fmla="*/ 185 h 394"/>
                    <a:gd name="T38" fmla="*/ 1339 w 1368"/>
                    <a:gd name="T39" fmla="*/ 230 h 394"/>
                    <a:gd name="T40" fmla="*/ 1348 w 1368"/>
                    <a:gd name="T41" fmla="*/ 241 h 394"/>
                    <a:gd name="T42" fmla="*/ 1354 w 1368"/>
                    <a:gd name="T43" fmla="*/ 255 h 394"/>
                    <a:gd name="T44" fmla="*/ 1360 w 1368"/>
                    <a:gd name="T45" fmla="*/ 274 h 394"/>
                    <a:gd name="T46" fmla="*/ 1364 w 1368"/>
                    <a:gd name="T47" fmla="*/ 294 h 394"/>
                    <a:gd name="T48" fmla="*/ 1367 w 1368"/>
                    <a:gd name="T49" fmla="*/ 314 h 394"/>
                    <a:gd name="T50" fmla="*/ 1368 w 1368"/>
                    <a:gd name="T51" fmla="*/ 335 h 394"/>
                    <a:gd name="T52" fmla="*/ 1367 w 1368"/>
                    <a:gd name="T53" fmla="*/ 353 h 394"/>
                    <a:gd name="T54" fmla="*/ 1364 w 1368"/>
                    <a:gd name="T55" fmla="*/ 369 h 394"/>
                    <a:gd name="T56" fmla="*/ 1359 w 1368"/>
                    <a:gd name="T57" fmla="*/ 380 h 394"/>
                    <a:gd name="T58" fmla="*/ 1350 w 1368"/>
                    <a:gd name="T59" fmla="*/ 387 h 394"/>
                    <a:gd name="T60" fmla="*/ 1338 w 1368"/>
                    <a:gd name="T61" fmla="*/ 391 h 394"/>
                    <a:gd name="T62" fmla="*/ 1325 w 1368"/>
                    <a:gd name="T63" fmla="*/ 393 h 394"/>
                    <a:gd name="T64" fmla="*/ 1313 w 1368"/>
                    <a:gd name="T65" fmla="*/ 394 h 394"/>
                    <a:gd name="T66" fmla="*/ 686 w 1368"/>
                    <a:gd name="T67" fmla="*/ 394 h 394"/>
                    <a:gd name="T68" fmla="*/ 58 w 1368"/>
                    <a:gd name="T69" fmla="*/ 394 h 394"/>
                    <a:gd name="T70" fmla="*/ 39 w 1368"/>
                    <a:gd name="T71" fmla="*/ 394 h 394"/>
                    <a:gd name="T72" fmla="*/ 25 w 1368"/>
                    <a:gd name="T73" fmla="*/ 392 h 394"/>
                    <a:gd name="T74" fmla="*/ 16 w 1368"/>
                    <a:gd name="T75" fmla="*/ 389 h 394"/>
                    <a:gd name="T76" fmla="*/ 10 w 1368"/>
                    <a:gd name="T77" fmla="*/ 382 h 394"/>
                    <a:gd name="T78" fmla="*/ 7 w 1368"/>
                    <a:gd name="T79" fmla="*/ 373 h 394"/>
                    <a:gd name="T80" fmla="*/ 5 w 1368"/>
                    <a:gd name="T81" fmla="*/ 360 h 394"/>
                    <a:gd name="T82" fmla="*/ 1 w 1368"/>
                    <a:gd name="T83" fmla="*/ 341 h 394"/>
                    <a:gd name="T84" fmla="*/ 0 w 1368"/>
                    <a:gd name="T85" fmla="*/ 313 h 394"/>
                    <a:gd name="T86" fmla="*/ 4 w 1368"/>
                    <a:gd name="T87" fmla="*/ 289 h 394"/>
                    <a:gd name="T88" fmla="*/ 11 w 1368"/>
                    <a:gd name="T89" fmla="*/ 265 h 394"/>
                    <a:gd name="T90" fmla="*/ 22 w 1368"/>
                    <a:gd name="T91" fmla="*/ 244 h 394"/>
                    <a:gd name="T92" fmla="*/ 36 w 1368"/>
                    <a:gd name="T93" fmla="*/ 225 h 394"/>
                    <a:gd name="T94" fmla="*/ 53 w 1368"/>
                    <a:gd name="T95" fmla="*/ 208 h 394"/>
                    <a:gd name="T96" fmla="*/ 73 w 1368"/>
                    <a:gd name="T97" fmla="*/ 190 h 394"/>
                    <a:gd name="T98" fmla="*/ 129 w 1368"/>
                    <a:gd name="T99" fmla="*/ 149 h 394"/>
                    <a:gd name="T100" fmla="*/ 188 w 1368"/>
                    <a:gd name="T101" fmla="*/ 111 h 394"/>
                    <a:gd name="T102" fmla="*/ 248 w 1368"/>
                    <a:gd name="T103" fmla="*/ 76 h 394"/>
                    <a:gd name="T104" fmla="*/ 309 w 1368"/>
                    <a:gd name="T105" fmla="*/ 47 h 394"/>
                    <a:gd name="T106" fmla="*/ 374 w 1368"/>
                    <a:gd name="T107" fmla="*/ 23 h 394"/>
                    <a:gd name="T108" fmla="*/ 441 w 1368"/>
                    <a:gd name="T109" fmla="*/ 3 h 394"/>
                    <a:gd name="T110" fmla="*/ 459 w 1368"/>
                    <a:gd name="T111" fmla="*/ 0 h 394"/>
                    <a:gd name="T112" fmla="*/ 477 w 1368"/>
                    <a:gd name="T113" fmla="*/ 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8" h="394">
                      <a:moveTo>
                        <a:pt x="477" y="0"/>
                      </a:moveTo>
                      <a:lnTo>
                        <a:pt x="496" y="2"/>
                      </a:lnTo>
                      <a:lnTo>
                        <a:pt x="514" y="7"/>
                      </a:lnTo>
                      <a:lnTo>
                        <a:pt x="570" y="25"/>
                      </a:lnTo>
                      <a:lnTo>
                        <a:pt x="627" y="36"/>
                      </a:lnTo>
                      <a:lnTo>
                        <a:pt x="683" y="40"/>
                      </a:lnTo>
                      <a:lnTo>
                        <a:pt x="739" y="36"/>
                      </a:lnTo>
                      <a:lnTo>
                        <a:pt x="796" y="26"/>
                      </a:lnTo>
                      <a:lnTo>
                        <a:pt x="853" y="9"/>
                      </a:lnTo>
                      <a:lnTo>
                        <a:pt x="871" y="3"/>
                      </a:lnTo>
                      <a:lnTo>
                        <a:pt x="890" y="0"/>
                      </a:lnTo>
                      <a:lnTo>
                        <a:pt x="910" y="0"/>
                      </a:lnTo>
                      <a:lnTo>
                        <a:pt x="929" y="3"/>
                      </a:lnTo>
                      <a:lnTo>
                        <a:pt x="995" y="23"/>
                      </a:lnTo>
                      <a:lnTo>
                        <a:pt x="1058" y="46"/>
                      </a:lnTo>
                      <a:lnTo>
                        <a:pt x="1119" y="75"/>
                      </a:lnTo>
                      <a:lnTo>
                        <a:pt x="1178" y="108"/>
                      </a:lnTo>
                      <a:lnTo>
                        <a:pt x="1234" y="144"/>
                      </a:lnTo>
                      <a:lnTo>
                        <a:pt x="1288" y="185"/>
                      </a:lnTo>
                      <a:lnTo>
                        <a:pt x="1339" y="230"/>
                      </a:lnTo>
                      <a:lnTo>
                        <a:pt x="1348" y="241"/>
                      </a:lnTo>
                      <a:lnTo>
                        <a:pt x="1354" y="255"/>
                      </a:lnTo>
                      <a:lnTo>
                        <a:pt x="1360" y="274"/>
                      </a:lnTo>
                      <a:lnTo>
                        <a:pt x="1364" y="294"/>
                      </a:lnTo>
                      <a:lnTo>
                        <a:pt x="1367" y="314"/>
                      </a:lnTo>
                      <a:lnTo>
                        <a:pt x="1368" y="335"/>
                      </a:lnTo>
                      <a:lnTo>
                        <a:pt x="1367" y="353"/>
                      </a:lnTo>
                      <a:lnTo>
                        <a:pt x="1364" y="369"/>
                      </a:lnTo>
                      <a:lnTo>
                        <a:pt x="1359" y="380"/>
                      </a:lnTo>
                      <a:lnTo>
                        <a:pt x="1350" y="387"/>
                      </a:lnTo>
                      <a:lnTo>
                        <a:pt x="1338" y="391"/>
                      </a:lnTo>
                      <a:lnTo>
                        <a:pt x="1325" y="393"/>
                      </a:lnTo>
                      <a:lnTo>
                        <a:pt x="1313" y="394"/>
                      </a:lnTo>
                      <a:lnTo>
                        <a:pt x="686" y="394"/>
                      </a:lnTo>
                      <a:lnTo>
                        <a:pt x="58" y="394"/>
                      </a:lnTo>
                      <a:lnTo>
                        <a:pt x="39" y="394"/>
                      </a:lnTo>
                      <a:lnTo>
                        <a:pt x="25" y="392"/>
                      </a:lnTo>
                      <a:lnTo>
                        <a:pt x="16" y="389"/>
                      </a:lnTo>
                      <a:lnTo>
                        <a:pt x="10" y="382"/>
                      </a:lnTo>
                      <a:lnTo>
                        <a:pt x="7" y="373"/>
                      </a:lnTo>
                      <a:lnTo>
                        <a:pt x="5" y="360"/>
                      </a:lnTo>
                      <a:lnTo>
                        <a:pt x="1" y="341"/>
                      </a:lnTo>
                      <a:lnTo>
                        <a:pt x="0" y="313"/>
                      </a:lnTo>
                      <a:lnTo>
                        <a:pt x="4" y="289"/>
                      </a:lnTo>
                      <a:lnTo>
                        <a:pt x="11" y="265"/>
                      </a:lnTo>
                      <a:lnTo>
                        <a:pt x="22" y="244"/>
                      </a:lnTo>
                      <a:lnTo>
                        <a:pt x="36" y="225"/>
                      </a:lnTo>
                      <a:lnTo>
                        <a:pt x="53" y="208"/>
                      </a:lnTo>
                      <a:lnTo>
                        <a:pt x="73" y="190"/>
                      </a:lnTo>
                      <a:lnTo>
                        <a:pt x="129" y="149"/>
                      </a:lnTo>
                      <a:lnTo>
                        <a:pt x="188" y="111"/>
                      </a:lnTo>
                      <a:lnTo>
                        <a:pt x="248" y="76"/>
                      </a:lnTo>
                      <a:lnTo>
                        <a:pt x="309" y="47"/>
                      </a:lnTo>
                      <a:lnTo>
                        <a:pt x="374" y="23"/>
                      </a:lnTo>
                      <a:lnTo>
                        <a:pt x="441" y="3"/>
                      </a:lnTo>
                      <a:lnTo>
                        <a:pt x="459" y="0"/>
                      </a:lnTo>
                      <a:lnTo>
                        <a:pt x="477"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sp>
              <p:nvSpPr>
                <p:cNvPr id="79" name="Freeform 22"/>
                <p:cNvSpPr>
                  <a:spLocks/>
                </p:cNvSpPr>
                <p:nvPr/>
              </p:nvSpPr>
              <p:spPr bwMode="auto">
                <a:xfrm>
                  <a:off x="-2643142" y="2415946"/>
                  <a:ext cx="480791" cy="45358"/>
                </a:xfrm>
                <a:custGeom>
                  <a:avLst/>
                  <a:gdLst>
                    <a:gd name="T0" fmla="*/ 949 w 1007"/>
                    <a:gd name="T1" fmla="*/ 0 h 95"/>
                    <a:gd name="T2" fmla="*/ 958 w 1007"/>
                    <a:gd name="T3" fmla="*/ 0 h 95"/>
                    <a:gd name="T4" fmla="*/ 972 w 1007"/>
                    <a:gd name="T5" fmla="*/ 2 h 95"/>
                    <a:gd name="T6" fmla="*/ 985 w 1007"/>
                    <a:gd name="T7" fmla="*/ 7 h 95"/>
                    <a:gd name="T8" fmla="*/ 994 w 1007"/>
                    <a:gd name="T9" fmla="*/ 13 h 95"/>
                    <a:gd name="T10" fmla="*/ 1002 w 1007"/>
                    <a:gd name="T11" fmla="*/ 23 h 95"/>
                    <a:gd name="T12" fmla="*/ 1006 w 1007"/>
                    <a:gd name="T13" fmla="*/ 35 h 95"/>
                    <a:gd name="T14" fmla="*/ 1007 w 1007"/>
                    <a:gd name="T15" fmla="*/ 50 h 95"/>
                    <a:gd name="T16" fmla="*/ 1006 w 1007"/>
                    <a:gd name="T17" fmla="*/ 64 h 95"/>
                    <a:gd name="T18" fmla="*/ 1001 w 1007"/>
                    <a:gd name="T19" fmla="*/ 75 h 95"/>
                    <a:gd name="T20" fmla="*/ 993 w 1007"/>
                    <a:gd name="T21" fmla="*/ 83 h 95"/>
                    <a:gd name="T22" fmla="*/ 983 w 1007"/>
                    <a:gd name="T23" fmla="*/ 90 h 95"/>
                    <a:gd name="T24" fmla="*/ 972 w 1007"/>
                    <a:gd name="T25" fmla="*/ 93 h 95"/>
                    <a:gd name="T26" fmla="*/ 958 w 1007"/>
                    <a:gd name="T27" fmla="*/ 94 h 95"/>
                    <a:gd name="T28" fmla="*/ 685 w 1007"/>
                    <a:gd name="T29" fmla="*/ 95 h 95"/>
                    <a:gd name="T30" fmla="*/ 502 w 1007"/>
                    <a:gd name="T31" fmla="*/ 95 h 95"/>
                    <a:gd name="T32" fmla="*/ 62 w 1007"/>
                    <a:gd name="T33" fmla="*/ 95 h 95"/>
                    <a:gd name="T34" fmla="*/ 49 w 1007"/>
                    <a:gd name="T35" fmla="*/ 94 h 95"/>
                    <a:gd name="T36" fmla="*/ 36 w 1007"/>
                    <a:gd name="T37" fmla="*/ 93 h 95"/>
                    <a:gd name="T38" fmla="*/ 25 w 1007"/>
                    <a:gd name="T39" fmla="*/ 90 h 95"/>
                    <a:gd name="T40" fmla="*/ 16 w 1007"/>
                    <a:gd name="T41" fmla="*/ 83 h 95"/>
                    <a:gd name="T42" fmla="*/ 7 w 1007"/>
                    <a:gd name="T43" fmla="*/ 75 h 95"/>
                    <a:gd name="T44" fmla="*/ 2 w 1007"/>
                    <a:gd name="T45" fmla="*/ 62 h 95"/>
                    <a:gd name="T46" fmla="*/ 0 w 1007"/>
                    <a:gd name="T47" fmla="*/ 44 h 95"/>
                    <a:gd name="T48" fmla="*/ 2 w 1007"/>
                    <a:gd name="T49" fmla="*/ 30 h 95"/>
                    <a:gd name="T50" fmla="*/ 9 w 1007"/>
                    <a:gd name="T51" fmla="*/ 19 h 95"/>
                    <a:gd name="T52" fmla="*/ 22 w 1007"/>
                    <a:gd name="T53" fmla="*/ 9 h 95"/>
                    <a:gd name="T54" fmla="*/ 38 w 1007"/>
                    <a:gd name="T55" fmla="*/ 4 h 95"/>
                    <a:gd name="T56" fmla="*/ 59 w 1007"/>
                    <a:gd name="T57" fmla="*/ 1 h 95"/>
                    <a:gd name="T58" fmla="*/ 479 w 1007"/>
                    <a:gd name="T59" fmla="*/ 0 h 95"/>
                    <a:gd name="T60" fmla="*/ 941 w 1007"/>
                    <a:gd name="T61" fmla="*/ 0 h 95"/>
                    <a:gd name="T62" fmla="*/ 949 w 1007"/>
                    <a:gd name="T6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7" h="95">
                      <a:moveTo>
                        <a:pt x="949" y="0"/>
                      </a:moveTo>
                      <a:lnTo>
                        <a:pt x="958" y="0"/>
                      </a:lnTo>
                      <a:lnTo>
                        <a:pt x="972" y="2"/>
                      </a:lnTo>
                      <a:lnTo>
                        <a:pt x="985" y="7"/>
                      </a:lnTo>
                      <a:lnTo>
                        <a:pt x="994" y="13"/>
                      </a:lnTo>
                      <a:lnTo>
                        <a:pt x="1002" y="23"/>
                      </a:lnTo>
                      <a:lnTo>
                        <a:pt x="1006" y="35"/>
                      </a:lnTo>
                      <a:lnTo>
                        <a:pt x="1007" y="50"/>
                      </a:lnTo>
                      <a:lnTo>
                        <a:pt x="1006" y="64"/>
                      </a:lnTo>
                      <a:lnTo>
                        <a:pt x="1001" y="75"/>
                      </a:lnTo>
                      <a:lnTo>
                        <a:pt x="993" y="83"/>
                      </a:lnTo>
                      <a:lnTo>
                        <a:pt x="983" y="90"/>
                      </a:lnTo>
                      <a:lnTo>
                        <a:pt x="972" y="93"/>
                      </a:lnTo>
                      <a:lnTo>
                        <a:pt x="958" y="94"/>
                      </a:lnTo>
                      <a:lnTo>
                        <a:pt x="685" y="95"/>
                      </a:lnTo>
                      <a:lnTo>
                        <a:pt x="502" y="95"/>
                      </a:lnTo>
                      <a:lnTo>
                        <a:pt x="62" y="95"/>
                      </a:lnTo>
                      <a:lnTo>
                        <a:pt x="49" y="94"/>
                      </a:lnTo>
                      <a:lnTo>
                        <a:pt x="36" y="93"/>
                      </a:lnTo>
                      <a:lnTo>
                        <a:pt x="25" y="90"/>
                      </a:lnTo>
                      <a:lnTo>
                        <a:pt x="16" y="83"/>
                      </a:lnTo>
                      <a:lnTo>
                        <a:pt x="7" y="75"/>
                      </a:lnTo>
                      <a:lnTo>
                        <a:pt x="2" y="62"/>
                      </a:lnTo>
                      <a:lnTo>
                        <a:pt x="0" y="44"/>
                      </a:lnTo>
                      <a:lnTo>
                        <a:pt x="2" y="30"/>
                      </a:lnTo>
                      <a:lnTo>
                        <a:pt x="9" y="19"/>
                      </a:lnTo>
                      <a:lnTo>
                        <a:pt x="22" y="9"/>
                      </a:lnTo>
                      <a:lnTo>
                        <a:pt x="38" y="4"/>
                      </a:lnTo>
                      <a:lnTo>
                        <a:pt x="59" y="1"/>
                      </a:lnTo>
                      <a:lnTo>
                        <a:pt x="479" y="0"/>
                      </a:lnTo>
                      <a:lnTo>
                        <a:pt x="941" y="0"/>
                      </a:lnTo>
                      <a:lnTo>
                        <a:pt x="94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sp>
              <p:nvSpPr>
                <p:cNvPr id="80" name="Freeform 23"/>
                <p:cNvSpPr>
                  <a:spLocks/>
                </p:cNvSpPr>
                <p:nvPr/>
              </p:nvSpPr>
              <p:spPr bwMode="auto">
                <a:xfrm>
                  <a:off x="-2643142" y="2584008"/>
                  <a:ext cx="480791" cy="45358"/>
                </a:xfrm>
                <a:custGeom>
                  <a:avLst/>
                  <a:gdLst>
                    <a:gd name="T0" fmla="*/ 949 w 1007"/>
                    <a:gd name="T1" fmla="*/ 0 h 95"/>
                    <a:gd name="T2" fmla="*/ 958 w 1007"/>
                    <a:gd name="T3" fmla="*/ 0 h 95"/>
                    <a:gd name="T4" fmla="*/ 972 w 1007"/>
                    <a:gd name="T5" fmla="*/ 3 h 95"/>
                    <a:gd name="T6" fmla="*/ 985 w 1007"/>
                    <a:gd name="T7" fmla="*/ 7 h 95"/>
                    <a:gd name="T8" fmla="*/ 994 w 1007"/>
                    <a:gd name="T9" fmla="*/ 13 h 95"/>
                    <a:gd name="T10" fmla="*/ 1002 w 1007"/>
                    <a:gd name="T11" fmla="*/ 23 h 95"/>
                    <a:gd name="T12" fmla="*/ 1006 w 1007"/>
                    <a:gd name="T13" fmla="*/ 35 h 95"/>
                    <a:gd name="T14" fmla="*/ 1007 w 1007"/>
                    <a:gd name="T15" fmla="*/ 50 h 95"/>
                    <a:gd name="T16" fmla="*/ 1006 w 1007"/>
                    <a:gd name="T17" fmla="*/ 64 h 95"/>
                    <a:gd name="T18" fmla="*/ 1001 w 1007"/>
                    <a:gd name="T19" fmla="*/ 75 h 95"/>
                    <a:gd name="T20" fmla="*/ 993 w 1007"/>
                    <a:gd name="T21" fmla="*/ 83 h 95"/>
                    <a:gd name="T22" fmla="*/ 983 w 1007"/>
                    <a:gd name="T23" fmla="*/ 90 h 95"/>
                    <a:gd name="T24" fmla="*/ 972 w 1007"/>
                    <a:gd name="T25" fmla="*/ 93 h 95"/>
                    <a:gd name="T26" fmla="*/ 958 w 1007"/>
                    <a:gd name="T27" fmla="*/ 94 h 95"/>
                    <a:gd name="T28" fmla="*/ 685 w 1007"/>
                    <a:gd name="T29" fmla="*/ 95 h 95"/>
                    <a:gd name="T30" fmla="*/ 502 w 1007"/>
                    <a:gd name="T31" fmla="*/ 95 h 95"/>
                    <a:gd name="T32" fmla="*/ 62 w 1007"/>
                    <a:gd name="T33" fmla="*/ 95 h 95"/>
                    <a:gd name="T34" fmla="*/ 49 w 1007"/>
                    <a:gd name="T35" fmla="*/ 94 h 95"/>
                    <a:gd name="T36" fmla="*/ 36 w 1007"/>
                    <a:gd name="T37" fmla="*/ 93 h 95"/>
                    <a:gd name="T38" fmla="*/ 25 w 1007"/>
                    <a:gd name="T39" fmla="*/ 90 h 95"/>
                    <a:gd name="T40" fmla="*/ 16 w 1007"/>
                    <a:gd name="T41" fmla="*/ 83 h 95"/>
                    <a:gd name="T42" fmla="*/ 7 w 1007"/>
                    <a:gd name="T43" fmla="*/ 75 h 95"/>
                    <a:gd name="T44" fmla="*/ 2 w 1007"/>
                    <a:gd name="T45" fmla="*/ 62 h 95"/>
                    <a:gd name="T46" fmla="*/ 0 w 1007"/>
                    <a:gd name="T47" fmla="*/ 45 h 95"/>
                    <a:gd name="T48" fmla="*/ 2 w 1007"/>
                    <a:gd name="T49" fmla="*/ 31 h 95"/>
                    <a:gd name="T50" fmla="*/ 9 w 1007"/>
                    <a:gd name="T51" fmla="*/ 19 h 95"/>
                    <a:gd name="T52" fmla="*/ 22 w 1007"/>
                    <a:gd name="T53" fmla="*/ 9 h 95"/>
                    <a:gd name="T54" fmla="*/ 38 w 1007"/>
                    <a:gd name="T55" fmla="*/ 4 h 95"/>
                    <a:gd name="T56" fmla="*/ 59 w 1007"/>
                    <a:gd name="T57" fmla="*/ 1 h 95"/>
                    <a:gd name="T58" fmla="*/ 479 w 1007"/>
                    <a:gd name="T59" fmla="*/ 0 h 95"/>
                    <a:gd name="T60" fmla="*/ 941 w 1007"/>
                    <a:gd name="T61" fmla="*/ 0 h 95"/>
                    <a:gd name="T62" fmla="*/ 949 w 1007"/>
                    <a:gd name="T6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7" h="95">
                      <a:moveTo>
                        <a:pt x="949" y="0"/>
                      </a:moveTo>
                      <a:lnTo>
                        <a:pt x="958" y="0"/>
                      </a:lnTo>
                      <a:lnTo>
                        <a:pt x="972" y="3"/>
                      </a:lnTo>
                      <a:lnTo>
                        <a:pt x="985" y="7"/>
                      </a:lnTo>
                      <a:lnTo>
                        <a:pt x="994" y="13"/>
                      </a:lnTo>
                      <a:lnTo>
                        <a:pt x="1002" y="23"/>
                      </a:lnTo>
                      <a:lnTo>
                        <a:pt x="1006" y="35"/>
                      </a:lnTo>
                      <a:lnTo>
                        <a:pt x="1007" y="50"/>
                      </a:lnTo>
                      <a:lnTo>
                        <a:pt x="1006" y="64"/>
                      </a:lnTo>
                      <a:lnTo>
                        <a:pt x="1001" y="75"/>
                      </a:lnTo>
                      <a:lnTo>
                        <a:pt x="993" y="83"/>
                      </a:lnTo>
                      <a:lnTo>
                        <a:pt x="983" y="90"/>
                      </a:lnTo>
                      <a:lnTo>
                        <a:pt x="972" y="93"/>
                      </a:lnTo>
                      <a:lnTo>
                        <a:pt x="958" y="94"/>
                      </a:lnTo>
                      <a:lnTo>
                        <a:pt x="685" y="95"/>
                      </a:lnTo>
                      <a:lnTo>
                        <a:pt x="502" y="95"/>
                      </a:lnTo>
                      <a:lnTo>
                        <a:pt x="62" y="95"/>
                      </a:lnTo>
                      <a:lnTo>
                        <a:pt x="49" y="94"/>
                      </a:lnTo>
                      <a:lnTo>
                        <a:pt x="36" y="93"/>
                      </a:lnTo>
                      <a:lnTo>
                        <a:pt x="25" y="90"/>
                      </a:lnTo>
                      <a:lnTo>
                        <a:pt x="16" y="83"/>
                      </a:lnTo>
                      <a:lnTo>
                        <a:pt x="7" y="75"/>
                      </a:lnTo>
                      <a:lnTo>
                        <a:pt x="2" y="62"/>
                      </a:lnTo>
                      <a:lnTo>
                        <a:pt x="0" y="45"/>
                      </a:lnTo>
                      <a:lnTo>
                        <a:pt x="2" y="31"/>
                      </a:lnTo>
                      <a:lnTo>
                        <a:pt x="9" y="19"/>
                      </a:lnTo>
                      <a:lnTo>
                        <a:pt x="22" y="9"/>
                      </a:lnTo>
                      <a:lnTo>
                        <a:pt x="38" y="4"/>
                      </a:lnTo>
                      <a:lnTo>
                        <a:pt x="59" y="1"/>
                      </a:lnTo>
                      <a:lnTo>
                        <a:pt x="479" y="0"/>
                      </a:lnTo>
                      <a:lnTo>
                        <a:pt x="941" y="0"/>
                      </a:lnTo>
                      <a:lnTo>
                        <a:pt x="94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sp>
              <p:nvSpPr>
                <p:cNvPr id="81" name="Freeform 24"/>
                <p:cNvSpPr>
                  <a:spLocks/>
                </p:cNvSpPr>
                <p:nvPr/>
              </p:nvSpPr>
              <p:spPr bwMode="auto">
                <a:xfrm>
                  <a:off x="-3195072" y="2204436"/>
                  <a:ext cx="312251" cy="396282"/>
                </a:xfrm>
                <a:custGeom>
                  <a:avLst/>
                  <a:gdLst>
                    <a:gd name="T0" fmla="*/ 375 w 654"/>
                    <a:gd name="T1" fmla="*/ 4 h 830"/>
                    <a:gd name="T2" fmla="*/ 456 w 654"/>
                    <a:gd name="T3" fmla="*/ 31 h 830"/>
                    <a:gd name="T4" fmla="*/ 525 w 654"/>
                    <a:gd name="T5" fmla="*/ 78 h 830"/>
                    <a:gd name="T6" fmla="*/ 579 w 654"/>
                    <a:gd name="T7" fmla="*/ 142 h 830"/>
                    <a:gd name="T8" fmla="*/ 615 w 654"/>
                    <a:gd name="T9" fmla="*/ 218 h 830"/>
                    <a:gd name="T10" fmla="*/ 631 w 654"/>
                    <a:gd name="T11" fmla="*/ 304 h 830"/>
                    <a:gd name="T12" fmla="*/ 625 w 654"/>
                    <a:gd name="T13" fmla="*/ 397 h 830"/>
                    <a:gd name="T14" fmla="*/ 626 w 654"/>
                    <a:gd name="T15" fmla="*/ 426 h 830"/>
                    <a:gd name="T16" fmla="*/ 643 w 654"/>
                    <a:gd name="T17" fmla="*/ 451 h 830"/>
                    <a:gd name="T18" fmla="*/ 654 w 654"/>
                    <a:gd name="T19" fmla="*/ 482 h 830"/>
                    <a:gd name="T20" fmla="*/ 644 w 654"/>
                    <a:gd name="T21" fmla="*/ 512 h 830"/>
                    <a:gd name="T22" fmla="*/ 622 w 654"/>
                    <a:gd name="T23" fmla="*/ 531 h 830"/>
                    <a:gd name="T24" fmla="*/ 596 w 654"/>
                    <a:gd name="T25" fmla="*/ 546 h 830"/>
                    <a:gd name="T26" fmla="*/ 586 w 654"/>
                    <a:gd name="T27" fmla="*/ 575 h 830"/>
                    <a:gd name="T28" fmla="*/ 561 w 654"/>
                    <a:gd name="T29" fmla="*/ 654 h 830"/>
                    <a:gd name="T30" fmla="*/ 521 w 654"/>
                    <a:gd name="T31" fmla="*/ 723 h 830"/>
                    <a:gd name="T32" fmla="*/ 461 w 654"/>
                    <a:gd name="T33" fmla="*/ 781 h 830"/>
                    <a:gd name="T34" fmla="*/ 396 w 654"/>
                    <a:gd name="T35" fmla="*/ 817 h 830"/>
                    <a:gd name="T36" fmla="*/ 328 w 654"/>
                    <a:gd name="T37" fmla="*/ 830 h 830"/>
                    <a:gd name="T38" fmla="*/ 260 w 654"/>
                    <a:gd name="T39" fmla="*/ 819 h 830"/>
                    <a:gd name="T40" fmla="*/ 197 w 654"/>
                    <a:gd name="T41" fmla="*/ 787 h 830"/>
                    <a:gd name="T42" fmla="*/ 141 w 654"/>
                    <a:gd name="T43" fmla="*/ 734 h 830"/>
                    <a:gd name="T44" fmla="*/ 99 w 654"/>
                    <a:gd name="T45" fmla="*/ 672 h 830"/>
                    <a:gd name="T46" fmla="*/ 71 w 654"/>
                    <a:gd name="T47" fmla="*/ 602 h 830"/>
                    <a:gd name="T48" fmla="*/ 57 w 654"/>
                    <a:gd name="T49" fmla="*/ 553 h 830"/>
                    <a:gd name="T50" fmla="*/ 41 w 654"/>
                    <a:gd name="T51" fmla="*/ 534 h 830"/>
                    <a:gd name="T52" fmla="*/ 11 w 654"/>
                    <a:gd name="T53" fmla="*/ 515 h 830"/>
                    <a:gd name="T54" fmla="*/ 0 w 654"/>
                    <a:gd name="T55" fmla="*/ 482 h 830"/>
                    <a:gd name="T56" fmla="*/ 11 w 654"/>
                    <a:gd name="T57" fmla="*/ 449 h 830"/>
                    <a:gd name="T58" fmla="*/ 30 w 654"/>
                    <a:gd name="T59" fmla="*/ 423 h 830"/>
                    <a:gd name="T60" fmla="*/ 28 w 654"/>
                    <a:gd name="T61" fmla="*/ 392 h 830"/>
                    <a:gd name="T62" fmla="*/ 20 w 654"/>
                    <a:gd name="T63" fmla="*/ 335 h 830"/>
                    <a:gd name="T64" fmla="*/ 27 w 654"/>
                    <a:gd name="T65" fmla="*/ 255 h 830"/>
                    <a:gd name="T66" fmla="*/ 52 w 654"/>
                    <a:gd name="T67" fmla="*/ 180 h 830"/>
                    <a:gd name="T68" fmla="*/ 95 w 654"/>
                    <a:gd name="T69" fmla="*/ 113 h 830"/>
                    <a:gd name="T70" fmla="*/ 154 w 654"/>
                    <a:gd name="T71" fmla="*/ 59 h 830"/>
                    <a:gd name="T72" fmla="*/ 225 w 654"/>
                    <a:gd name="T73" fmla="*/ 20 h 830"/>
                    <a:gd name="T74" fmla="*/ 297 w 654"/>
                    <a:gd name="T75" fmla="*/ 3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4" h="830">
                      <a:moveTo>
                        <a:pt x="331" y="0"/>
                      </a:moveTo>
                      <a:lnTo>
                        <a:pt x="375" y="4"/>
                      </a:lnTo>
                      <a:lnTo>
                        <a:pt x="417" y="15"/>
                      </a:lnTo>
                      <a:lnTo>
                        <a:pt x="456" y="31"/>
                      </a:lnTo>
                      <a:lnTo>
                        <a:pt x="493" y="52"/>
                      </a:lnTo>
                      <a:lnTo>
                        <a:pt x="525" y="78"/>
                      </a:lnTo>
                      <a:lnTo>
                        <a:pt x="554" y="108"/>
                      </a:lnTo>
                      <a:lnTo>
                        <a:pt x="579" y="142"/>
                      </a:lnTo>
                      <a:lnTo>
                        <a:pt x="599" y="178"/>
                      </a:lnTo>
                      <a:lnTo>
                        <a:pt x="615" y="218"/>
                      </a:lnTo>
                      <a:lnTo>
                        <a:pt x="626" y="260"/>
                      </a:lnTo>
                      <a:lnTo>
                        <a:pt x="631" y="304"/>
                      </a:lnTo>
                      <a:lnTo>
                        <a:pt x="631" y="351"/>
                      </a:lnTo>
                      <a:lnTo>
                        <a:pt x="625" y="397"/>
                      </a:lnTo>
                      <a:lnTo>
                        <a:pt x="624" y="411"/>
                      </a:lnTo>
                      <a:lnTo>
                        <a:pt x="626" y="426"/>
                      </a:lnTo>
                      <a:lnTo>
                        <a:pt x="631" y="440"/>
                      </a:lnTo>
                      <a:lnTo>
                        <a:pt x="643" y="451"/>
                      </a:lnTo>
                      <a:lnTo>
                        <a:pt x="651" y="466"/>
                      </a:lnTo>
                      <a:lnTo>
                        <a:pt x="654" y="482"/>
                      </a:lnTo>
                      <a:lnTo>
                        <a:pt x="651" y="498"/>
                      </a:lnTo>
                      <a:lnTo>
                        <a:pt x="644" y="512"/>
                      </a:lnTo>
                      <a:lnTo>
                        <a:pt x="635" y="523"/>
                      </a:lnTo>
                      <a:lnTo>
                        <a:pt x="622" y="531"/>
                      </a:lnTo>
                      <a:lnTo>
                        <a:pt x="607" y="535"/>
                      </a:lnTo>
                      <a:lnTo>
                        <a:pt x="596" y="546"/>
                      </a:lnTo>
                      <a:lnTo>
                        <a:pt x="591" y="560"/>
                      </a:lnTo>
                      <a:lnTo>
                        <a:pt x="586" y="575"/>
                      </a:lnTo>
                      <a:lnTo>
                        <a:pt x="577" y="616"/>
                      </a:lnTo>
                      <a:lnTo>
                        <a:pt x="561" y="654"/>
                      </a:lnTo>
                      <a:lnTo>
                        <a:pt x="543" y="690"/>
                      </a:lnTo>
                      <a:lnTo>
                        <a:pt x="521" y="723"/>
                      </a:lnTo>
                      <a:lnTo>
                        <a:pt x="494" y="754"/>
                      </a:lnTo>
                      <a:lnTo>
                        <a:pt x="461" y="781"/>
                      </a:lnTo>
                      <a:lnTo>
                        <a:pt x="429" y="802"/>
                      </a:lnTo>
                      <a:lnTo>
                        <a:pt x="396" y="817"/>
                      </a:lnTo>
                      <a:lnTo>
                        <a:pt x="362" y="827"/>
                      </a:lnTo>
                      <a:lnTo>
                        <a:pt x="328" y="830"/>
                      </a:lnTo>
                      <a:lnTo>
                        <a:pt x="293" y="828"/>
                      </a:lnTo>
                      <a:lnTo>
                        <a:pt x="260" y="819"/>
                      </a:lnTo>
                      <a:lnTo>
                        <a:pt x="228" y="806"/>
                      </a:lnTo>
                      <a:lnTo>
                        <a:pt x="197" y="787"/>
                      </a:lnTo>
                      <a:lnTo>
                        <a:pt x="166" y="762"/>
                      </a:lnTo>
                      <a:lnTo>
                        <a:pt x="141" y="734"/>
                      </a:lnTo>
                      <a:lnTo>
                        <a:pt x="118" y="704"/>
                      </a:lnTo>
                      <a:lnTo>
                        <a:pt x="99" y="672"/>
                      </a:lnTo>
                      <a:lnTo>
                        <a:pt x="84" y="637"/>
                      </a:lnTo>
                      <a:lnTo>
                        <a:pt x="71" y="602"/>
                      </a:lnTo>
                      <a:lnTo>
                        <a:pt x="61" y="564"/>
                      </a:lnTo>
                      <a:lnTo>
                        <a:pt x="57" y="553"/>
                      </a:lnTo>
                      <a:lnTo>
                        <a:pt x="49" y="542"/>
                      </a:lnTo>
                      <a:lnTo>
                        <a:pt x="41" y="534"/>
                      </a:lnTo>
                      <a:lnTo>
                        <a:pt x="24" y="526"/>
                      </a:lnTo>
                      <a:lnTo>
                        <a:pt x="11" y="515"/>
                      </a:lnTo>
                      <a:lnTo>
                        <a:pt x="3" y="500"/>
                      </a:lnTo>
                      <a:lnTo>
                        <a:pt x="0" y="482"/>
                      </a:lnTo>
                      <a:lnTo>
                        <a:pt x="3" y="465"/>
                      </a:lnTo>
                      <a:lnTo>
                        <a:pt x="11" y="449"/>
                      </a:lnTo>
                      <a:lnTo>
                        <a:pt x="25" y="438"/>
                      </a:lnTo>
                      <a:lnTo>
                        <a:pt x="30" y="423"/>
                      </a:lnTo>
                      <a:lnTo>
                        <a:pt x="30" y="408"/>
                      </a:lnTo>
                      <a:lnTo>
                        <a:pt x="28" y="392"/>
                      </a:lnTo>
                      <a:lnTo>
                        <a:pt x="24" y="377"/>
                      </a:lnTo>
                      <a:lnTo>
                        <a:pt x="20" y="335"/>
                      </a:lnTo>
                      <a:lnTo>
                        <a:pt x="20" y="295"/>
                      </a:lnTo>
                      <a:lnTo>
                        <a:pt x="27" y="255"/>
                      </a:lnTo>
                      <a:lnTo>
                        <a:pt x="37" y="216"/>
                      </a:lnTo>
                      <a:lnTo>
                        <a:pt x="52" y="180"/>
                      </a:lnTo>
                      <a:lnTo>
                        <a:pt x="72" y="145"/>
                      </a:lnTo>
                      <a:lnTo>
                        <a:pt x="95" y="113"/>
                      </a:lnTo>
                      <a:lnTo>
                        <a:pt x="122" y="84"/>
                      </a:lnTo>
                      <a:lnTo>
                        <a:pt x="154" y="59"/>
                      </a:lnTo>
                      <a:lnTo>
                        <a:pt x="187" y="37"/>
                      </a:lnTo>
                      <a:lnTo>
                        <a:pt x="225" y="20"/>
                      </a:lnTo>
                      <a:lnTo>
                        <a:pt x="263" y="8"/>
                      </a:lnTo>
                      <a:lnTo>
                        <a:pt x="297" y="3"/>
                      </a:lnTo>
                      <a:lnTo>
                        <a:pt x="33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sng" strike="noStrike" kern="1200" cap="none" spc="0" normalizeH="0" baseline="0" noProof="0">
                    <a:ln>
                      <a:noFill/>
                    </a:ln>
                    <a:solidFill>
                      <a:srgbClr val="505050"/>
                    </a:solidFill>
                    <a:effectLst/>
                    <a:uLnTx/>
                    <a:uFillTx/>
                    <a:latin typeface="Segoe UI"/>
                    <a:ea typeface="+mn-ea"/>
                    <a:cs typeface="+mn-cs"/>
                  </a:endParaRPr>
                </a:p>
              </p:txBody>
            </p:sp>
          </p:grpSp>
        </p:grpSp>
      </p:grpSp>
      <p:sp>
        <p:nvSpPr>
          <p:cNvPr id="85" name="Rectangle 84"/>
          <p:cNvSpPr/>
          <p:nvPr/>
        </p:nvSpPr>
        <p:spPr>
          <a:xfrm>
            <a:off x="1" y="487"/>
            <a:ext cx="12192000" cy="1590317"/>
          </a:xfrm>
          <a:prstGeom prst="rect">
            <a:avLst/>
          </a:prstGeom>
          <a:solidFill>
            <a:schemeClr val="bg1"/>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4" name="Title 2"/>
          <p:cNvSpPr>
            <a:spLocks noGrp="1"/>
          </p:cNvSpPr>
          <p:nvPr>
            <p:ph type="title"/>
          </p:nvPr>
        </p:nvSpPr>
        <p:spPr/>
        <p:txBody>
          <a:bodyPr/>
          <a:lstStyle/>
          <a:p>
            <a:r>
              <a:rPr lang="en-US" sz="4705" spc="-147" dirty="0"/>
              <a:t>Global attacks are increasing and costs are rising</a:t>
            </a:r>
          </a:p>
        </p:txBody>
      </p:sp>
      <p:sp>
        <p:nvSpPr>
          <p:cNvPr id="74" name="Rectangle 73"/>
          <p:cNvSpPr/>
          <p:nvPr/>
        </p:nvSpPr>
        <p:spPr>
          <a:xfrm>
            <a:off x="528356" y="3570038"/>
            <a:ext cx="11186990" cy="325260"/>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Tree>
    <p:extLst>
      <p:ext uri="{BB962C8B-B14F-4D97-AF65-F5344CB8AC3E}">
        <p14:creationId xmlns:p14="http://schemas.microsoft.com/office/powerpoint/2010/main" val="3744018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600" fill="hold"/>
                                        <p:tgtEl>
                                          <p:spTgt spid="45"/>
                                        </p:tgtEl>
                                        <p:attrNameLst>
                                          <p:attrName>ppt_x</p:attrName>
                                        </p:attrNameLst>
                                      </p:cBhvr>
                                      <p:tavLst>
                                        <p:tav tm="0">
                                          <p:val>
                                            <p:strVal val="#ppt_x"/>
                                          </p:val>
                                        </p:tav>
                                        <p:tav tm="100000">
                                          <p:val>
                                            <p:strVal val="#ppt_x"/>
                                          </p:val>
                                        </p:tav>
                                      </p:tavLst>
                                    </p:anim>
                                    <p:anim calcmode="lin" valueType="num">
                                      <p:cBhvr additive="base">
                                        <p:cTn id="8" dur="600" fill="hold"/>
                                        <p:tgtEl>
                                          <p:spTgt spid="45"/>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600" fill="hold"/>
                                        <p:tgtEl>
                                          <p:spTgt spid="41"/>
                                        </p:tgtEl>
                                        <p:attrNameLst>
                                          <p:attrName>ppt_x</p:attrName>
                                        </p:attrNameLst>
                                      </p:cBhvr>
                                      <p:tavLst>
                                        <p:tav tm="0">
                                          <p:val>
                                            <p:strVal val="#ppt_x"/>
                                          </p:val>
                                        </p:tav>
                                        <p:tav tm="100000">
                                          <p:val>
                                            <p:strVal val="#ppt_x"/>
                                          </p:val>
                                        </p:tav>
                                      </p:tavLst>
                                    </p:anim>
                                    <p:anim calcmode="lin" valueType="num">
                                      <p:cBhvr additive="base">
                                        <p:cTn id="12" dur="600" fill="hold"/>
                                        <p:tgtEl>
                                          <p:spTgt spid="41"/>
                                        </p:tgtEl>
                                        <p:attrNameLst>
                                          <p:attrName>ppt_y</p:attrName>
                                        </p:attrNameLst>
                                      </p:cBhvr>
                                      <p:tavLst>
                                        <p:tav tm="0">
                                          <p:val>
                                            <p:strVal val="0-#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600" fill="hold"/>
                                        <p:tgtEl>
                                          <p:spTgt spid="43"/>
                                        </p:tgtEl>
                                        <p:attrNameLst>
                                          <p:attrName>ppt_x</p:attrName>
                                        </p:attrNameLst>
                                      </p:cBhvr>
                                      <p:tavLst>
                                        <p:tav tm="0">
                                          <p:val>
                                            <p:strVal val="#ppt_x"/>
                                          </p:val>
                                        </p:tav>
                                        <p:tav tm="100000">
                                          <p:val>
                                            <p:strVal val="#ppt_x"/>
                                          </p:val>
                                        </p:tav>
                                      </p:tavLst>
                                    </p:anim>
                                    <p:anim calcmode="lin" valueType="num">
                                      <p:cBhvr additive="base">
                                        <p:cTn id="16" dur="6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600" fill="hold"/>
                                        <p:tgtEl>
                                          <p:spTgt spid="3"/>
                                        </p:tgtEl>
                                        <p:attrNameLst>
                                          <p:attrName>ppt_x</p:attrName>
                                        </p:attrNameLst>
                                      </p:cBhvr>
                                      <p:tavLst>
                                        <p:tav tm="0">
                                          <p:val>
                                            <p:strVal val="#ppt_x"/>
                                          </p:val>
                                        </p:tav>
                                        <p:tav tm="100000">
                                          <p:val>
                                            <p:strVal val="#ppt_x"/>
                                          </p:val>
                                        </p:tav>
                                      </p:tavLst>
                                    </p:anim>
                                    <p:anim calcmode="lin" valueType="num">
                                      <p:cBhvr additive="base">
                                        <p:cTn id="20" dur="600" fill="hold"/>
                                        <p:tgtEl>
                                          <p:spTgt spid="3"/>
                                        </p:tgtEl>
                                        <p:attrNameLst>
                                          <p:attrName>ppt_y</p:attrName>
                                        </p:attrNameLst>
                                      </p:cBhvr>
                                      <p:tavLst>
                                        <p:tav tm="0">
                                          <p:val>
                                            <p:strVal val="1+#ppt_h/2"/>
                                          </p:val>
                                        </p:tav>
                                        <p:tav tm="100000">
                                          <p:val>
                                            <p:strVal val="#ppt_y"/>
                                          </p:val>
                                        </p:tav>
                                      </p:tavLst>
                                    </p:anim>
                                  </p:childTnLst>
                                </p:cTn>
                              </p:par>
                              <p:par>
                                <p:cTn id="21" presetID="2" presetClass="entr" presetSubtype="1" fill="hold" nodeType="withEffect">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cBhvr additive="base">
                                        <p:cTn id="23" dur="600" fill="hold"/>
                                        <p:tgtEl>
                                          <p:spTgt spid="2"/>
                                        </p:tgtEl>
                                        <p:attrNameLst>
                                          <p:attrName>ppt_x</p:attrName>
                                        </p:attrNameLst>
                                      </p:cBhvr>
                                      <p:tavLst>
                                        <p:tav tm="0">
                                          <p:val>
                                            <p:strVal val="#ppt_x"/>
                                          </p:val>
                                        </p:tav>
                                        <p:tav tm="100000">
                                          <p:val>
                                            <p:strVal val="#ppt_x"/>
                                          </p:val>
                                        </p:tav>
                                      </p:tavLst>
                                    </p:anim>
                                    <p:anim calcmode="lin" valueType="num">
                                      <p:cBhvr additive="base">
                                        <p:cTn id="24" dur="600" fill="hold"/>
                                        <p:tgtEl>
                                          <p:spTgt spid="2"/>
                                        </p:tgtEl>
                                        <p:attrNameLst>
                                          <p:attrName>ppt_y</p:attrName>
                                        </p:attrNameLst>
                                      </p:cBhvr>
                                      <p:tavLst>
                                        <p:tav tm="0">
                                          <p:val>
                                            <p:strVal val="0-#ppt_h/2"/>
                                          </p:val>
                                        </p:tav>
                                        <p:tav tm="100000">
                                          <p:val>
                                            <p:strVal val="#ppt_y"/>
                                          </p:val>
                                        </p:tav>
                                      </p:tavLst>
                                    </p:anim>
                                  </p:childTnLst>
                                </p:cTn>
                              </p:par>
                            </p:childTnLst>
                          </p:cTn>
                        </p:par>
                        <p:par>
                          <p:cTn id="25" fill="hold">
                            <p:stCondLst>
                              <p:cond delay="600"/>
                            </p:stCondLst>
                            <p:childTnLst>
                              <p:par>
                                <p:cTn id="26" presetID="22" presetClass="entr" presetSubtype="1" fill="hold" nodeType="after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wipe(up)">
                                      <p:cBhvr>
                                        <p:cTn id="28" dur="600"/>
                                        <p:tgtEl>
                                          <p:spTgt spid="87"/>
                                        </p:tgtEl>
                                      </p:cBhvr>
                                    </p:animEffect>
                                  </p:childTnLst>
                                </p:cTn>
                              </p:par>
                              <p:par>
                                <p:cTn id="29" presetID="22" presetClass="entr" presetSubtype="1"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wipe(up)">
                                      <p:cBhvr>
                                        <p:cTn id="31" dur="600"/>
                                        <p:tgtEl>
                                          <p:spTgt spid="94"/>
                                        </p:tgtEl>
                                      </p:cBhvr>
                                    </p:animEffect>
                                  </p:childTnLst>
                                </p:cTn>
                              </p:par>
                              <p:par>
                                <p:cTn id="32" presetID="22" presetClass="entr" presetSubtype="1" fill="hold" nodeType="withEffect">
                                  <p:stCondLst>
                                    <p:cond delay="0"/>
                                  </p:stCondLst>
                                  <p:childTnLst>
                                    <p:set>
                                      <p:cBhvr>
                                        <p:cTn id="33" dur="1" fill="hold">
                                          <p:stCondLst>
                                            <p:cond delay="0"/>
                                          </p:stCondLst>
                                        </p:cTn>
                                        <p:tgtEl>
                                          <p:spTgt spid="96"/>
                                        </p:tgtEl>
                                        <p:attrNameLst>
                                          <p:attrName>style.visibility</p:attrName>
                                        </p:attrNameLst>
                                      </p:cBhvr>
                                      <p:to>
                                        <p:strVal val="visible"/>
                                      </p:to>
                                    </p:set>
                                    <p:animEffect transition="in" filter="wipe(up)">
                                      <p:cBhvr>
                                        <p:cTn id="34" dur="600"/>
                                        <p:tgtEl>
                                          <p:spTgt spid="96"/>
                                        </p:tgtEl>
                                      </p:cBhvr>
                                    </p:animEffect>
                                  </p:childTnLst>
                                </p:cTn>
                              </p:par>
                              <p:par>
                                <p:cTn id="35" presetID="22" presetClass="entr" presetSubtype="4"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animEffect transition="in" filter="wipe(down)">
                                      <p:cBhvr>
                                        <p:cTn id="37" dur="600"/>
                                        <p:tgtEl>
                                          <p:spTgt spid="88"/>
                                        </p:tgtEl>
                                      </p:cBhvr>
                                    </p:animEffect>
                                  </p:childTnLst>
                                </p:cTn>
                              </p:par>
                              <p:par>
                                <p:cTn id="38" presetID="22" presetClass="entr" presetSubtype="4" fill="hold" nodeType="with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wipe(down)">
                                      <p:cBhvr>
                                        <p:cTn id="40" dur="6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055B4-D540-40F5-AA51-314E618EA2D3}"/>
              </a:ext>
            </a:extLst>
          </p:cNvPr>
          <p:cNvSpPr>
            <a:spLocks noGrp="1"/>
          </p:cNvSpPr>
          <p:nvPr>
            <p:ph type="title"/>
          </p:nvPr>
        </p:nvSpPr>
        <p:spPr/>
        <p:txBody>
          <a:bodyPr/>
          <a:lstStyle/>
          <a:p>
            <a:r>
              <a:rPr lang="en-US" dirty="0"/>
              <a:t>Microsoft’s Security Offerings</a:t>
            </a:r>
          </a:p>
        </p:txBody>
      </p:sp>
      <p:sp>
        <p:nvSpPr>
          <p:cNvPr id="4" name="Rectangle 3">
            <a:extLst>
              <a:ext uri="{FF2B5EF4-FFF2-40B4-BE49-F238E27FC236}">
                <a16:creationId xmlns:a16="http://schemas.microsoft.com/office/drawing/2014/main" id="{404100E8-14CF-4EDE-8A50-BABD8646B0ED}"/>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E11A8DBF-7670-4349-96EB-D27EF4F13CC6}"/>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12" name="Picture Placeholder 4" descr="Photo of the Cyber Defense Operations Center (CDOC). Multiple people working at computer workstations with three large monitors overhead displaying global threats.">
            <a:extLst>
              <a:ext uri="{FF2B5EF4-FFF2-40B4-BE49-F238E27FC236}">
                <a16:creationId xmlns:a16="http://schemas.microsoft.com/office/drawing/2014/main" id="{9360EA9E-2F33-4D3F-B741-39CFE2AAE160}"/>
              </a:ext>
            </a:extLst>
          </p:cNvPr>
          <p:cNvPicPr>
            <a:picLocks noGrp="1" noChangeAspect="1"/>
          </p:cNvPicPr>
          <p:nvPr>
            <p:ph type="pic" sz="quarter" idx="11"/>
          </p:nvPr>
        </p:nvPicPr>
        <p:blipFill rotWithShape="1">
          <a:blip r:embed="rId3"/>
          <a:srcRect l="18125" r="10625"/>
          <a:stretch/>
        </p:blipFill>
        <p:spPr>
          <a:xfrm>
            <a:off x="5334000" y="0"/>
            <a:ext cx="6858000" cy="6858000"/>
          </a:xfrm>
        </p:spPr>
      </p:pic>
    </p:spTree>
    <p:extLst>
      <p:ext uri="{BB962C8B-B14F-4D97-AF65-F5344CB8AC3E}">
        <p14:creationId xmlns:p14="http://schemas.microsoft.com/office/powerpoint/2010/main" val="1838293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323232"/>
        </a:solidFill>
        <a:effectLst/>
      </p:bgPr>
    </p:bg>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1347" y="378264"/>
            <a:ext cx="10562011" cy="6188223"/>
          </a:xfrm>
          <a:prstGeom prst="rect">
            <a:avLst/>
          </a:prstGeom>
        </p:spPr>
      </p:pic>
      <p:grpSp>
        <p:nvGrpSpPr>
          <p:cNvPr id="39" name="Group 38"/>
          <p:cNvGrpSpPr/>
          <p:nvPr/>
        </p:nvGrpSpPr>
        <p:grpSpPr>
          <a:xfrm>
            <a:off x="125393" y="2837416"/>
            <a:ext cx="3729545" cy="3032352"/>
            <a:chOff x="-2087057" y="2798704"/>
            <a:chExt cx="4560581" cy="3093157"/>
          </a:xfrm>
        </p:grpSpPr>
        <p:sp>
          <p:nvSpPr>
            <p:cNvPr id="40" name="TextBox 39"/>
            <p:cNvSpPr txBox="1"/>
            <p:nvPr/>
          </p:nvSpPr>
          <p:spPr>
            <a:xfrm>
              <a:off x="-2087057" y="2798704"/>
              <a:ext cx="2890021" cy="2580706"/>
            </a:xfrm>
            <a:prstGeom prst="rect">
              <a:avLst/>
            </a:prstGeom>
            <a:noFill/>
          </p:spPr>
          <p:txBody>
            <a:bodyPr wrap="non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4214" b="1" i="0" u="none" strike="noStrike" kern="1200" cap="none" spc="-412" normalizeH="0" baseline="0" noProof="0" dirty="0">
                  <a:ln>
                    <a:noFill/>
                  </a:ln>
                  <a:gradFill>
                    <a:gsLst>
                      <a:gs pos="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rPr>
                <a:t>40</a:t>
              </a:r>
            </a:p>
          </p:txBody>
        </p:sp>
        <p:sp>
          <p:nvSpPr>
            <p:cNvPr id="43" name="TextBox 42"/>
            <p:cNvSpPr txBox="1"/>
            <p:nvPr/>
          </p:nvSpPr>
          <p:spPr>
            <a:xfrm>
              <a:off x="-2006254" y="4543813"/>
              <a:ext cx="4479778" cy="1348048"/>
            </a:xfrm>
            <a:prstGeom prst="rect">
              <a:avLst/>
            </a:prstGeom>
            <a:noFill/>
          </p:spPr>
          <p:txBody>
            <a:bodyPr wrap="square" lIns="277892" tIns="277892" rIns="277892" bIns="277892"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Microsoft cloud </a:t>
              </a:r>
              <a:r>
                <a:rPr kumimoji="0" lang="en-US" sz="274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MS PGothic" panose="020B0600070205080204" pitchFamily="34" charset="-128"/>
                  <a:cs typeface="Segoe UI Semilight" panose="020B0402040204020203" pitchFamily="34" charset="0"/>
                </a:rPr>
                <a:t>regions</a:t>
              </a:r>
            </a:p>
          </p:txBody>
        </p:sp>
      </p:grpSp>
      <p:sp>
        <p:nvSpPr>
          <p:cNvPr id="64" name="Oval 63"/>
          <p:cNvSpPr/>
          <p:nvPr/>
        </p:nvSpPr>
        <p:spPr bwMode="auto">
          <a:xfrm>
            <a:off x="9228794" y="419299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5" name="Oval 64"/>
          <p:cNvSpPr/>
          <p:nvPr/>
        </p:nvSpPr>
        <p:spPr bwMode="auto">
          <a:xfrm>
            <a:off x="9518266" y="280883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Oval 65"/>
          <p:cNvSpPr/>
          <p:nvPr/>
        </p:nvSpPr>
        <p:spPr bwMode="auto">
          <a:xfrm>
            <a:off x="9588633" y="227364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7" name="Oval 66"/>
          <p:cNvSpPr/>
          <p:nvPr/>
        </p:nvSpPr>
        <p:spPr bwMode="auto">
          <a:xfrm>
            <a:off x="8457553" y="3154937"/>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8" name="Oval 67"/>
          <p:cNvSpPr/>
          <p:nvPr/>
        </p:nvSpPr>
        <p:spPr bwMode="auto">
          <a:xfrm>
            <a:off x="8760334" y="331471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Oval 68"/>
          <p:cNvSpPr/>
          <p:nvPr/>
        </p:nvSpPr>
        <p:spPr bwMode="auto">
          <a:xfrm>
            <a:off x="6377419" y="2093053"/>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5" name="Oval 74"/>
          <p:cNvSpPr/>
          <p:nvPr/>
        </p:nvSpPr>
        <p:spPr bwMode="auto">
          <a:xfrm>
            <a:off x="5949770" y="205140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6" name="Oval 75"/>
          <p:cNvSpPr/>
          <p:nvPr/>
        </p:nvSpPr>
        <p:spPr bwMode="auto">
          <a:xfrm>
            <a:off x="4911870" y="461107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7" name="Oval 76"/>
          <p:cNvSpPr/>
          <p:nvPr/>
        </p:nvSpPr>
        <p:spPr bwMode="auto">
          <a:xfrm>
            <a:off x="3474142" y="253841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Oval 77"/>
          <p:cNvSpPr/>
          <p:nvPr/>
        </p:nvSpPr>
        <p:spPr bwMode="auto">
          <a:xfrm>
            <a:off x="3247578" y="256905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9" name="Oval 78"/>
          <p:cNvSpPr/>
          <p:nvPr/>
        </p:nvSpPr>
        <p:spPr bwMode="auto">
          <a:xfrm>
            <a:off x="3340175" y="2231023"/>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Oval 79"/>
          <p:cNvSpPr/>
          <p:nvPr/>
        </p:nvSpPr>
        <p:spPr bwMode="auto">
          <a:xfrm>
            <a:off x="3010127" y="215293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1" name="Oval 80"/>
          <p:cNvSpPr/>
          <p:nvPr/>
        </p:nvSpPr>
        <p:spPr bwMode="auto">
          <a:xfrm>
            <a:off x="3800623" y="2202794"/>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Oval 81"/>
          <p:cNvSpPr/>
          <p:nvPr/>
        </p:nvSpPr>
        <p:spPr bwMode="auto">
          <a:xfrm>
            <a:off x="3006360" y="2848759"/>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Oval 82"/>
          <p:cNvSpPr/>
          <p:nvPr/>
        </p:nvSpPr>
        <p:spPr bwMode="auto">
          <a:xfrm>
            <a:off x="2415407" y="2558477"/>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4" name="Oval 83"/>
          <p:cNvSpPr/>
          <p:nvPr/>
        </p:nvSpPr>
        <p:spPr bwMode="auto">
          <a:xfrm>
            <a:off x="10405128" y="2354180"/>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5" name="Oval 84"/>
          <p:cNvSpPr/>
          <p:nvPr/>
        </p:nvSpPr>
        <p:spPr bwMode="auto">
          <a:xfrm>
            <a:off x="10152504" y="2735535"/>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6" name="Oval 85"/>
          <p:cNvSpPr/>
          <p:nvPr/>
        </p:nvSpPr>
        <p:spPr bwMode="auto">
          <a:xfrm>
            <a:off x="10594653" y="5174281"/>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7" name="Oval 86"/>
          <p:cNvSpPr/>
          <p:nvPr/>
        </p:nvSpPr>
        <p:spPr bwMode="auto">
          <a:xfrm>
            <a:off x="10333266" y="545747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8" name="Oval 87"/>
          <p:cNvSpPr/>
          <p:nvPr/>
        </p:nvSpPr>
        <p:spPr bwMode="auto">
          <a:xfrm>
            <a:off x="9366876" y="313157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9" name="Oval 88"/>
          <p:cNvSpPr/>
          <p:nvPr/>
        </p:nvSpPr>
        <p:spPr bwMode="auto">
          <a:xfrm>
            <a:off x="2982859" y="2462530"/>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0" name="Oval 89"/>
          <p:cNvSpPr/>
          <p:nvPr/>
        </p:nvSpPr>
        <p:spPr bwMode="auto">
          <a:xfrm>
            <a:off x="8546206" y="3652997"/>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4" name="Oval 93"/>
          <p:cNvSpPr/>
          <p:nvPr/>
        </p:nvSpPr>
        <p:spPr bwMode="auto">
          <a:xfrm>
            <a:off x="3564696" y="2672836"/>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5" name="Oval 94"/>
          <p:cNvSpPr/>
          <p:nvPr/>
        </p:nvSpPr>
        <p:spPr bwMode="auto">
          <a:xfrm>
            <a:off x="3662466" y="2493220"/>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p:cNvSpPr/>
          <p:nvPr/>
        </p:nvSpPr>
        <p:spPr bwMode="auto">
          <a:xfrm>
            <a:off x="5883021" y="1787581"/>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37"/>
          <p:cNvSpPr/>
          <p:nvPr/>
        </p:nvSpPr>
        <p:spPr bwMode="auto">
          <a:xfrm>
            <a:off x="6335143" y="1887518"/>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p:cNvSpPr/>
          <p:nvPr/>
        </p:nvSpPr>
        <p:spPr bwMode="auto">
          <a:xfrm>
            <a:off x="6163595" y="221716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Oval 41"/>
          <p:cNvSpPr/>
          <p:nvPr/>
        </p:nvSpPr>
        <p:spPr bwMode="auto">
          <a:xfrm>
            <a:off x="6163595" y="1804322"/>
            <a:ext cx="280574" cy="280568"/>
          </a:xfrm>
          <a:prstGeom prst="ellipse">
            <a:avLst/>
          </a:prstGeom>
          <a:solidFill>
            <a:schemeClr val="accent2">
              <a:lumMod val="60000"/>
              <a:lumOff val="40000"/>
            </a:schemeClr>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Oval 33"/>
          <p:cNvSpPr/>
          <p:nvPr/>
        </p:nvSpPr>
        <p:spPr bwMode="auto">
          <a:xfrm>
            <a:off x="6944221" y="4768747"/>
            <a:ext cx="280574" cy="280568"/>
          </a:xfrm>
          <a:prstGeom prst="ellipse">
            <a:avLst/>
          </a:prstGeom>
          <a:solidFill>
            <a:srgbClr val="C00000"/>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solidFill>
                <a:srgbClr val="FF0000"/>
              </a:solidFill>
              <a:effectLst/>
              <a:highlight>
                <a:srgbClr val="FF0000"/>
              </a:highlight>
              <a:uLnTx/>
              <a:uFillTx/>
              <a:latin typeface="Segoe UI Semilight"/>
              <a:ea typeface="Segoe UI" pitchFamily="34" charset="0"/>
              <a:cs typeface="Segoe UI" pitchFamily="34" charset="0"/>
            </a:endParaRPr>
          </a:p>
        </p:txBody>
      </p:sp>
      <p:sp>
        <p:nvSpPr>
          <p:cNvPr id="35" name="Oval 34"/>
          <p:cNvSpPr/>
          <p:nvPr/>
        </p:nvSpPr>
        <p:spPr bwMode="auto">
          <a:xfrm>
            <a:off x="6673241" y="4976830"/>
            <a:ext cx="280574" cy="280568"/>
          </a:xfrm>
          <a:prstGeom prst="ellipse">
            <a:avLst/>
          </a:prstGeom>
          <a:solidFill>
            <a:srgbClr val="C00000"/>
          </a:solidFill>
          <a:ln w="187325">
            <a:solidFill>
              <a:schemeClr val="accent2">
                <a:lumMod val="60000"/>
                <a:lumOff val="40000"/>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5080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2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par>
                                <p:cTn id="11" presetID="10" presetClass="entr" presetSubtype="0" fill="hold" grpId="0" nodeType="withEffect">
                                  <p:stCondLst>
                                    <p:cond delay="4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par>
                                <p:cTn id="14" presetID="10" presetClass="entr" presetSubtype="0" fill="hold" grpId="0" nodeType="withEffect">
                                  <p:stCondLst>
                                    <p:cond delay="6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grpId="0" nodeType="withEffect">
                                  <p:stCondLst>
                                    <p:cond delay="8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par>
                                <p:cTn id="20" presetID="10" presetClass="entr" presetSubtype="0" fill="hold" grpId="0" nodeType="withEffect">
                                  <p:stCondLst>
                                    <p:cond delay="10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500"/>
                                        <p:tgtEl>
                                          <p:spTgt spid="69"/>
                                        </p:tgtEl>
                                      </p:cBhvr>
                                    </p:animEffect>
                                  </p:childTnLst>
                                </p:cTn>
                              </p:par>
                              <p:par>
                                <p:cTn id="23" presetID="10" presetClass="entr" presetSubtype="0" fill="hold" grpId="0" nodeType="withEffect">
                                  <p:stCondLst>
                                    <p:cond delay="120"/>
                                  </p:stCondLst>
                                  <p:childTnLst>
                                    <p:set>
                                      <p:cBhvr>
                                        <p:cTn id="24" dur="1" fill="hold">
                                          <p:stCondLst>
                                            <p:cond delay="0"/>
                                          </p:stCondLst>
                                        </p:cTn>
                                        <p:tgtEl>
                                          <p:spTgt spid="75"/>
                                        </p:tgtEl>
                                        <p:attrNameLst>
                                          <p:attrName>style.visibility</p:attrName>
                                        </p:attrNameLst>
                                      </p:cBhvr>
                                      <p:to>
                                        <p:strVal val="visible"/>
                                      </p:to>
                                    </p:set>
                                    <p:animEffect transition="in" filter="fade">
                                      <p:cBhvr>
                                        <p:cTn id="25" dur="500"/>
                                        <p:tgtEl>
                                          <p:spTgt spid="75"/>
                                        </p:tgtEl>
                                      </p:cBhvr>
                                    </p:animEffect>
                                  </p:childTnLst>
                                </p:cTn>
                              </p:par>
                              <p:par>
                                <p:cTn id="26" presetID="10" presetClass="entr" presetSubtype="0" fill="hold" grpId="0" nodeType="withEffect">
                                  <p:stCondLst>
                                    <p:cond delay="140"/>
                                  </p:stCondLst>
                                  <p:childTnLst>
                                    <p:set>
                                      <p:cBhvr>
                                        <p:cTn id="27" dur="1" fill="hold">
                                          <p:stCondLst>
                                            <p:cond delay="0"/>
                                          </p:stCondLst>
                                        </p:cTn>
                                        <p:tgtEl>
                                          <p:spTgt spid="76"/>
                                        </p:tgtEl>
                                        <p:attrNameLst>
                                          <p:attrName>style.visibility</p:attrName>
                                        </p:attrNameLst>
                                      </p:cBhvr>
                                      <p:to>
                                        <p:strVal val="visible"/>
                                      </p:to>
                                    </p:set>
                                    <p:animEffect transition="in" filter="fade">
                                      <p:cBhvr>
                                        <p:cTn id="28" dur="500"/>
                                        <p:tgtEl>
                                          <p:spTgt spid="76"/>
                                        </p:tgtEl>
                                      </p:cBhvr>
                                    </p:animEffect>
                                  </p:childTnLst>
                                </p:cTn>
                              </p:par>
                              <p:par>
                                <p:cTn id="29" presetID="10" presetClass="entr" presetSubtype="0" fill="hold" grpId="0" nodeType="withEffect">
                                  <p:stCondLst>
                                    <p:cond delay="16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18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500"/>
                                        <p:tgtEl>
                                          <p:spTgt spid="79"/>
                                        </p:tgtEl>
                                      </p:cBhvr>
                                    </p:animEffect>
                                  </p:childTnLst>
                                </p:cTn>
                              </p:par>
                              <p:par>
                                <p:cTn id="38" presetID="10" presetClass="entr" presetSubtype="0" fill="hold" grpId="0" nodeType="withEffect">
                                  <p:stCondLst>
                                    <p:cond delay="22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grpId="0" nodeType="withEffect">
                                  <p:stCondLst>
                                    <p:cond delay="240"/>
                                  </p:stCondLst>
                                  <p:childTnLst>
                                    <p:set>
                                      <p:cBhvr>
                                        <p:cTn id="42" dur="1" fill="hold">
                                          <p:stCondLst>
                                            <p:cond delay="0"/>
                                          </p:stCondLst>
                                        </p:cTn>
                                        <p:tgtEl>
                                          <p:spTgt spid="81"/>
                                        </p:tgtEl>
                                        <p:attrNameLst>
                                          <p:attrName>style.visibility</p:attrName>
                                        </p:attrNameLst>
                                      </p:cBhvr>
                                      <p:to>
                                        <p:strVal val="visible"/>
                                      </p:to>
                                    </p:set>
                                    <p:animEffect transition="in" filter="fade">
                                      <p:cBhvr>
                                        <p:cTn id="43" dur="500"/>
                                        <p:tgtEl>
                                          <p:spTgt spid="81"/>
                                        </p:tgtEl>
                                      </p:cBhvr>
                                    </p:animEffect>
                                  </p:childTnLst>
                                </p:cTn>
                              </p:par>
                              <p:par>
                                <p:cTn id="44" presetID="10" presetClass="entr" presetSubtype="0" fill="hold" grpId="0" nodeType="withEffect">
                                  <p:stCondLst>
                                    <p:cond delay="260"/>
                                  </p:stCondLst>
                                  <p:childTnLst>
                                    <p:set>
                                      <p:cBhvr>
                                        <p:cTn id="45" dur="1" fill="hold">
                                          <p:stCondLst>
                                            <p:cond delay="0"/>
                                          </p:stCondLst>
                                        </p:cTn>
                                        <p:tgtEl>
                                          <p:spTgt spid="82"/>
                                        </p:tgtEl>
                                        <p:attrNameLst>
                                          <p:attrName>style.visibility</p:attrName>
                                        </p:attrNameLst>
                                      </p:cBhvr>
                                      <p:to>
                                        <p:strVal val="visible"/>
                                      </p:to>
                                    </p:set>
                                    <p:animEffect transition="in" filter="fade">
                                      <p:cBhvr>
                                        <p:cTn id="46" dur="500"/>
                                        <p:tgtEl>
                                          <p:spTgt spid="82"/>
                                        </p:tgtEl>
                                      </p:cBhvr>
                                    </p:animEffect>
                                  </p:childTnLst>
                                </p:cTn>
                              </p:par>
                              <p:par>
                                <p:cTn id="47" presetID="10" presetClass="entr" presetSubtype="0" fill="hold" grpId="0" nodeType="withEffect">
                                  <p:stCondLst>
                                    <p:cond delay="28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10" presetClass="entr" presetSubtype="0" fill="hold" grpId="0" nodeType="withEffect">
                                  <p:stCondLst>
                                    <p:cond delay="300"/>
                                  </p:stCondLst>
                                  <p:childTnLst>
                                    <p:set>
                                      <p:cBhvr>
                                        <p:cTn id="51" dur="1" fill="hold">
                                          <p:stCondLst>
                                            <p:cond delay="0"/>
                                          </p:stCondLst>
                                        </p:cTn>
                                        <p:tgtEl>
                                          <p:spTgt spid="84"/>
                                        </p:tgtEl>
                                        <p:attrNameLst>
                                          <p:attrName>style.visibility</p:attrName>
                                        </p:attrNameLst>
                                      </p:cBhvr>
                                      <p:to>
                                        <p:strVal val="visible"/>
                                      </p:to>
                                    </p:set>
                                    <p:animEffect transition="in" filter="fade">
                                      <p:cBhvr>
                                        <p:cTn id="52" dur="500"/>
                                        <p:tgtEl>
                                          <p:spTgt spid="84"/>
                                        </p:tgtEl>
                                      </p:cBhvr>
                                    </p:animEffect>
                                  </p:childTnLst>
                                </p:cTn>
                              </p:par>
                              <p:par>
                                <p:cTn id="53" presetID="10" presetClass="entr" presetSubtype="0" fill="hold" grpId="0" nodeType="withEffect">
                                  <p:stCondLst>
                                    <p:cond delay="340"/>
                                  </p:stCondLst>
                                  <p:childTnLst>
                                    <p:set>
                                      <p:cBhvr>
                                        <p:cTn id="54" dur="1" fill="hold">
                                          <p:stCondLst>
                                            <p:cond delay="0"/>
                                          </p:stCondLst>
                                        </p:cTn>
                                        <p:tgtEl>
                                          <p:spTgt spid="85"/>
                                        </p:tgtEl>
                                        <p:attrNameLst>
                                          <p:attrName>style.visibility</p:attrName>
                                        </p:attrNameLst>
                                      </p:cBhvr>
                                      <p:to>
                                        <p:strVal val="visible"/>
                                      </p:to>
                                    </p:set>
                                    <p:animEffect transition="in" filter="fade">
                                      <p:cBhvr>
                                        <p:cTn id="55" dur="500"/>
                                        <p:tgtEl>
                                          <p:spTgt spid="85"/>
                                        </p:tgtEl>
                                      </p:cBhvr>
                                    </p:animEffect>
                                  </p:childTnLst>
                                </p:cTn>
                              </p:par>
                              <p:par>
                                <p:cTn id="56" presetID="10" presetClass="entr" presetSubtype="0" fill="hold" grpId="0" nodeType="withEffect">
                                  <p:stCondLst>
                                    <p:cond delay="38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par>
                                <p:cTn id="59" presetID="10" presetClass="entr" presetSubtype="0" fill="hold" grpId="0" nodeType="withEffect">
                                  <p:stCondLst>
                                    <p:cond delay="420"/>
                                  </p:stCondLst>
                                  <p:childTnLst>
                                    <p:set>
                                      <p:cBhvr>
                                        <p:cTn id="60" dur="1" fill="hold">
                                          <p:stCondLst>
                                            <p:cond delay="0"/>
                                          </p:stCondLst>
                                        </p:cTn>
                                        <p:tgtEl>
                                          <p:spTgt spid="87"/>
                                        </p:tgtEl>
                                        <p:attrNameLst>
                                          <p:attrName>style.visibility</p:attrName>
                                        </p:attrNameLst>
                                      </p:cBhvr>
                                      <p:to>
                                        <p:strVal val="visible"/>
                                      </p:to>
                                    </p:set>
                                    <p:animEffect transition="in" filter="fade">
                                      <p:cBhvr>
                                        <p:cTn id="61" dur="500"/>
                                        <p:tgtEl>
                                          <p:spTgt spid="87"/>
                                        </p:tgtEl>
                                      </p:cBhvr>
                                    </p:animEffect>
                                  </p:childTnLst>
                                </p:cTn>
                              </p:par>
                              <p:par>
                                <p:cTn id="62" presetID="10" presetClass="entr" presetSubtype="0" fill="hold" grpId="0" nodeType="withEffect">
                                  <p:stCondLst>
                                    <p:cond delay="48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550"/>
                                  </p:stCondLst>
                                  <p:childTnLst>
                                    <p:set>
                                      <p:cBhvr>
                                        <p:cTn id="66" dur="1" fill="hold">
                                          <p:stCondLst>
                                            <p:cond delay="0"/>
                                          </p:stCondLst>
                                        </p:cTn>
                                        <p:tgtEl>
                                          <p:spTgt spid="89"/>
                                        </p:tgtEl>
                                        <p:attrNameLst>
                                          <p:attrName>style.visibility</p:attrName>
                                        </p:attrNameLst>
                                      </p:cBhvr>
                                      <p:to>
                                        <p:strVal val="visible"/>
                                      </p:to>
                                    </p:set>
                                    <p:animEffect transition="in" filter="fade">
                                      <p:cBhvr>
                                        <p:cTn id="67" dur="500"/>
                                        <p:tgtEl>
                                          <p:spTgt spid="89"/>
                                        </p:tgtEl>
                                      </p:cBhvr>
                                    </p:animEffect>
                                  </p:childTnLst>
                                </p:cTn>
                              </p:par>
                              <p:par>
                                <p:cTn id="68" presetID="10" presetClass="entr" presetSubtype="0" fill="hold" grpId="0" nodeType="withEffect">
                                  <p:stCondLst>
                                    <p:cond delay="550"/>
                                  </p:stCondLst>
                                  <p:childTnLst>
                                    <p:set>
                                      <p:cBhvr>
                                        <p:cTn id="69" dur="1" fill="hold">
                                          <p:stCondLst>
                                            <p:cond delay="0"/>
                                          </p:stCondLst>
                                        </p:cTn>
                                        <p:tgtEl>
                                          <p:spTgt spid="90"/>
                                        </p:tgtEl>
                                        <p:attrNameLst>
                                          <p:attrName>style.visibility</p:attrName>
                                        </p:attrNameLst>
                                      </p:cBhvr>
                                      <p:to>
                                        <p:strVal val="visible"/>
                                      </p:to>
                                    </p:set>
                                    <p:animEffect transition="in" filter="fade">
                                      <p:cBhvr>
                                        <p:cTn id="70" dur="500"/>
                                        <p:tgtEl>
                                          <p:spTgt spid="90"/>
                                        </p:tgtEl>
                                      </p:cBhvr>
                                    </p:animEffect>
                                  </p:childTnLst>
                                </p:cTn>
                              </p:par>
                              <p:par>
                                <p:cTn id="71" presetID="10" presetClass="entr" presetSubtype="0" fill="hold" grpId="0" nodeType="withEffect">
                                  <p:stCondLst>
                                    <p:cond delay="16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grpId="0" nodeType="withEffect">
                                  <p:stCondLst>
                                    <p:cond delay="160"/>
                                  </p:stCondLst>
                                  <p:childTnLst>
                                    <p:set>
                                      <p:cBhvr>
                                        <p:cTn id="75" dur="1" fill="hold">
                                          <p:stCondLst>
                                            <p:cond delay="0"/>
                                          </p:stCondLst>
                                        </p:cTn>
                                        <p:tgtEl>
                                          <p:spTgt spid="95"/>
                                        </p:tgtEl>
                                        <p:attrNameLst>
                                          <p:attrName>style.visibility</p:attrName>
                                        </p:attrNameLst>
                                      </p:cBhvr>
                                      <p:to>
                                        <p:strVal val="visible"/>
                                      </p:to>
                                    </p:set>
                                    <p:animEffect transition="in" filter="fade">
                                      <p:cBhvr>
                                        <p:cTn id="76" dur="500"/>
                                        <p:tgtEl>
                                          <p:spTgt spid="95"/>
                                        </p:tgtEl>
                                      </p:cBhvr>
                                    </p:animEffect>
                                  </p:childTnLst>
                                </p:cTn>
                              </p:par>
                              <p:par>
                                <p:cTn id="77" presetID="10" presetClass="entr" presetSubtype="0" fill="hold" grpId="0" nodeType="withEffect">
                                  <p:stCondLst>
                                    <p:cond delay="160"/>
                                  </p:stCondLst>
                                  <p:childTnLst>
                                    <p:set>
                                      <p:cBhvr>
                                        <p:cTn id="78" dur="1" fill="hold">
                                          <p:stCondLst>
                                            <p:cond delay="0"/>
                                          </p:stCondLst>
                                        </p:cTn>
                                        <p:tgtEl>
                                          <p:spTgt spid="37"/>
                                        </p:tgtEl>
                                        <p:attrNameLst>
                                          <p:attrName>style.visibility</p:attrName>
                                        </p:attrNameLst>
                                      </p:cBhvr>
                                      <p:to>
                                        <p:strVal val="visible"/>
                                      </p:to>
                                    </p:set>
                                    <p:animEffect transition="in" filter="fade">
                                      <p:cBhvr>
                                        <p:cTn id="79" dur="500"/>
                                        <p:tgtEl>
                                          <p:spTgt spid="37"/>
                                        </p:tgtEl>
                                      </p:cBhvr>
                                    </p:animEffect>
                                  </p:childTnLst>
                                </p:cTn>
                              </p:par>
                              <p:par>
                                <p:cTn id="80" presetID="10" presetClass="entr" presetSubtype="0" fill="hold" grpId="0" nodeType="withEffect">
                                  <p:stCondLst>
                                    <p:cond delay="160"/>
                                  </p:stCondLst>
                                  <p:childTnLst>
                                    <p:set>
                                      <p:cBhvr>
                                        <p:cTn id="81" dur="1" fill="hold">
                                          <p:stCondLst>
                                            <p:cond delay="0"/>
                                          </p:stCondLst>
                                        </p:cTn>
                                        <p:tgtEl>
                                          <p:spTgt spid="38"/>
                                        </p:tgtEl>
                                        <p:attrNameLst>
                                          <p:attrName>style.visibility</p:attrName>
                                        </p:attrNameLst>
                                      </p:cBhvr>
                                      <p:to>
                                        <p:strVal val="visible"/>
                                      </p:to>
                                    </p:set>
                                    <p:animEffect transition="in" filter="fade">
                                      <p:cBhvr>
                                        <p:cTn id="82" dur="500"/>
                                        <p:tgtEl>
                                          <p:spTgt spid="38"/>
                                        </p:tgtEl>
                                      </p:cBhvr>
                                    </p:animEffect>
                                  </p:childTnLst>
                                </p:cTn>
                              </p:par>
                              <p:par>
                                <p:cTn id="83" presetID="10" presetClass="entr" presetSubtype="0" fill="hold" grpId="0" nodeType="withEffect">
                                  <p:stCondLst>
                                    <p:cond delay="160"/>
                                  </p:stCondLst>
                                  <p:childTnLst>
                                    <p:set>
                                      <p:cBhvr>
                                        <p:cTn id="84" dur="1" fill="hold">
                                          <p:stCondLst>
                                            <p:cond delay="0"/>
                                          </p:stCondLst>
                                        </p:cTn>
                                        <p:tgtEl>
                                          <p:spTgt spid="41"/>
                                        </p:tgtEl>
                                        <p:attrNameLst>
                                          <p:attrName>style.visibility</p:attrName>
                                        </p:attrNameLst>
                                      </p:cBhvr>
                                      <p:to>
                                        <p:strVal val="visible"/>
                                      </p:to>
                                    </p:set>
                                    <p:animEffect transition="in" filter="fade">
                                      <p:cBhvr>
                                        <p:cTn id="85" dur="500"/>
                                        <p:tgtEl>
                                          <p:spTgt spid="41"/>
                                        </p:tgtEl>
                                      </p:cBhvr>
                                    </p:animEffect>
                                  </p:childTnLst>
                                </p:cTn>
                              </p:par>
                              <p:par>
                                <p:cTn id="86" presetID="10" presetClass="entr" presetSubtype="0" fill="hold" grpId="0" nodeType="withEffect">
                                  <p:stCondLst>
                                    <p:cond delay="160"/>
                                  </p:stCondLst>
                                  <p:childTnLst>
                                    <p:set>
                                      <p:cBhvr>
                                        <p:cTn id="87" dur="1" fill="hold">
                                          <p:stCondLst>
                                            <p:cond delay="0"/>
                                          </p:stCondLst>
                                        </p:cTn>
                                        <p:tgtEl>
                                          <p:spTgt spid="42"/>
                                        </p:tgtEl>
                                        <p:attrNameLst>
                                          <p:attrName>style.visibility</p:attrName>
                                        </p:attrNameLst>
                                      </p:cBhvr>
                                      <p:to>
                                        <p:strVal val="visible"/>
                                      </p:to>
                                    </p:set>
                                    <p:animEffect transition="in" filter="fade">
                                      <p:cBhvr>
                                        <p:cTn id="88" dur="500"/>
                                        <p:tgtEl>
                                          <p:spTgt spid="42"/>
                                        </p:tgtEl>
                                      </p:cBhvr>
                                    </p:animEffect>
                                  </p:childTnLst>
                                </p:cTn>
                              </p:par>
                            </p:childTnLst>
                          </p:cTn>
                        </p:par>
                        <p:par>
                          <p:cTn id="89" fill="hold">
                            <p:stCondLst>
                              <p:cond delay="1050"/>
                            </p:stCondLst>
                            <p:childTnLst>
                              <p:par>
                                <p:cTn id="90" presetID="10" presetClass="entr" presetSubtype="0" fill="hold" nodeType="afterEffect">
                                  <p:stCondLst>
                                    <p:cond delay="0"/>
                                  </p:stCondLst>
                                  <p:childTnLst>
                                    <p:set>
                                      <p:cBhvr>
                                        <p:cTn id="91" dur="1" fill="hold">
                                          <p:stCondLst>
                                            <p:cond delay="0"/>
                                          </p:stCondLst>
                                        </p:cTn>
                                        <p:tgtEl>
                                          <p:spTgt spid="39"/>
                                        </p:tgtEl>
                                        <p:attrNameLst>
                                          <p:attrName>style.visibility</p:attrName>
                                        </p:attrNameLst>
                                      </p:cBhvr>
                                      <p:to>
                                        <p:strVal val="visible"/>
                                      </p:to>
                                    </p:set>
                                    <p:animEffect transition="in" filter="fade">
                                      <p:cBhvr>
                                        <p:cTn id="92" dur="500"/>
                                        <p:tgtEl>
                                          <p:spTgt spid="39"/>
                                        </p:tgtEl>
                                      </p:cBhvr>
                                    </p:animEffect>
                                  </p:childTnLst>
                                </p:cTn>
                              </p:par>
                              <p:par>
                                <p:cTn id="93" presetID="10" presetClass="entr" presetSubtype="0" fill="hold" grpId="0" nodeType="withEffect">
                                  <p:stCondLst>
                                    <p:cond delay="140"/>
                                  </p:stCondLst>
                                  <p:childTnLst>
                                    <p:set>
                                      <p:cBhvr>
                                        <p:cTn id="94" dur="1" fill="hold">
                                          <p:stCondLst>
                                            <p:cond delay="0"/>
                                          </p:stCondLst>
                                        </p:cTn>
                                        <p:tgtEl>
                                          <p:spTgt spid="34"/>
                                        </p:tgtEl>
                                        <p:attrNameLst>
                                          <p:attrName>style.visibility</p:attrName>
                                        </p:attrNameLst>
                                      </p:cBhvr>
                                      <p:to>
                                        <p:strVal val="visible"/>
                                      </p:to>
                                    </p:set>
                                    <p:animEffect transition="in" filter="fade">
                                      <p:cBhvr>
                                        <p:cTn id="95" dur="500"/>
                                        <p:tgtEl>
                                          <p:spTgt spid="34"/>
                                        </p:tgtEl>
                                      </p:cBhvr>
                                    </p:animEffect>
                                  </p:childTnLst>
                                </p:cTn>
                              </p:par>
                              <p:par>
                                <p:cTn id="96" presetID="10" presetClass="entr" presetSubtype="0" fill="hold" grpId="0" nodeType="withEffect">
                                  <p:stCondLst>
                                    <p:cond delay="140"/>
                                  </p:stCondLst>
                                  <p:childTnLst>
                                    <p:set>
                                      <p:cBhvr>
                                        <p:cTn id="97" dur="1" fill="hold">
                                          <p:stCondLst>
                                            <p:cond delay="0"/>
                                          </p:stCondLst>
                                        </p:cTn>
                                        <p:tgtEl>
                                          <p:spTgt spid="35"/>
                                        </p:tgtEl>
                                        <p:attrNameLst>
                                          <p:attrName>style.visibility</p:attrName>
                                        </p:attrNameLst>
                                      </p:cBhvr>
                                      <p:to>
                                        <p:strVal val="visible"/>
                                      </p:to>
                                    </p:set>
                                    <p:animEffect transition="in" filter="fade">
                                      <p:cBhvr>
                                        <p:cTn id="9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5" grpId="0" animBg="1"/>
      <p:bldP spid="66" grpId="0" animBg="1"/>
      <p:bldP spid="67" grpId="0" animBg="1"/>
      <p:bldP spid="68" grpId="0" animBg="1"/>
      <p:bldP spid="69"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4" grpId="0" animBg="1"/>
      <p:bldP spid="95" grpId="0" animBg="1"/>
      <p:bldP spid="37" grpId="0" animBg="1"/>
      <p:bldP spid="38" grpId="0" animBg="1"/>
      <p:bldP spid="41" grpId="0" animBg="1"/>
      <p:bldP spid="42" grpId="0" animBg="1"/>
      <p:bldP spid="34" grpId="0" animBg="1"/>
      <p:bldP spid="3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b="25219"/>
          <a:stretch/>
        </p:blipFill>
        <p:spPr>
          <a:xfrm>
            <a:off x="6078468" y="488"/>
            <a:ext cx="6113533" cy="6857650"/>
          </a:xfrm>
          <a:prstGeom prst="rect">
            <a:avLst/>
          </a:prstGeom>
        </p:spPr>
      </p:pic>
      <p:sp>
        <p:nvSpPr>
          <p:cNvPr id="11" name="Rectangle 10"/>
          <p:cNvSpPr/>
          <p:nvPr/>
        </p:nvSpPr>
        <p:spPr>
          <a:xfrm>
            <a:off x="6780073" y="4343522"/>
            <a:ext cx="5411928" cy="2024685"/>
          </a:xfrm>
          <a:prstGeom prst="rect">
            <a:avLst/>
          </a:prstGeom>
          <a:solidFill>
            <a:schemeClr val="accent3">
              <a:lumMod val="75000"/>
              <a:alpha val="83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1961"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2" name="Title 1"/>
          <p:cNvSpPr>
            <a:spLocks noGrp="1"/>
          </p:cNvSpPr>
          <p:nvPr>
            <p:ph type="title"/>
          </p:nvPr>
        </p:nvSpPr>
        <p:spPr>
          <a:xfrm>
            <a:off x="269241" y="320870"/>
            <a:ext cx="4784741" cy="899537"/>
          </a:xfrm>
        </p:spPr>
        <p:txBody>
          <a:bodyPr/>
          <a:lstStyle/>
          <a:p>
            <a:pPr>
              <a:lnSpc>
                <a:spcPts val="6470"/>
              </a:lnSpc>
            </a:pPr>
            <a:r>
              <a:rPr lang="en-US" sz="6470" dirty="0">
                <a:solidFill>
                  <a:schemeClr val="tx2"/>
                </a:solidFill>
              </a:rPr>
              <a:t>A cloud you can trust</a:t>
            </a:r>
          </a:p>
        </p:txBody>
      </p:sp>
      <p:sp>
        <p:nvSpPr>
          <p:cNvPr id="6" name="Rectangle 5"/>
          <p:cNvSpPr/>
          <p:nvPr/>
        </p:nvSpPr>
        <p:spPr>
          <a:xfrm>
            <a:off x="6826259" y="4472676"/>
            <a:ext cx="5213067" cy="1538804"/>
          </a:xfrm>
          <a:prstGeom prst="rect">
            <a:avLst/>
          </a:prstGeom>
        </p:spPr>
        <p:txBody>
          <a:bodyPr wrap="square">
            <a:spAutoFit/>
          </a:bodyPr>
          <a:lstStyle/>
          <a:p>
            <a:pPr marL="154067" marR="0" lvl="0" indent="-154067" algn="l" defTabSz="896386" rtl="0" eaLnBrk="1" fontAlgn="base" latinLnBrk="0" hangingPunct="1">
              <a:lnSpc>
                <a:spcPct val="100000"/>
              </a:lnSpc>
              <a:spcBef>
                <a:spcPts val="0"/>
              </a:spcBef>
              <a:spcAft>
                <a:spcPts val="0"/>
              </a:spcAft>
              <a:buClrTx/>
              <a:buSzTx/>
              <a:buFontTx/>
              <a:buNone/>
              <a:tabLst/>
              <a:defRPr/>
            </a:pPr>
            <a:r>
              <a:rPr kumimoji="0" lang="en-US" sz="3137" b="0" i="0" u="none" strike="noStrike" kern="1200" cap="none" spc="-49" normalizeH="0" baseline="0" noProof="0" dirty="0">
                <a:ln>
                  <a:noFill/>
                </a:ln>
                <a:solidFill>
                  <a:srgbClr val="FFFFFF"/>
                </a:solidFill>
                <a:effectLst/>
                <a:uLnTx/>
                <a:uFillTx/>
                <a:latin typeface="Segoe UI Light"/>
                <a:ea typeface="+mn-ea"/>
                <a:cs typeface="+mn-cs"/>
              </a:rPr>
              <a:t>“Businesses and users are going to embrace technology only if they can trust it.”</a:t>
            </a:r>
          </a:p>
        </p:txBody>
      </p:sp>
      <p:sp>
        <p:nvSpPr>
          <p:cNvPr id="7" name="Rectangle 6"/>
          <p:cNvSpPr/>
          <p:nvPr/>
        </p:nvSpPr>
        <p:spPr>
          <a:xfrm>
            <a:off x="683130" y="4418669"/>
            <a:ext cx="4034084" cy="346985"/>
          </a:xfrm>
          <a:prstGeom prst="rect">
            <a:avLst/>
          </a:prstGeom>
        </p:spPr>
        <p:txBody>
          <a:bodyPr wrap="squar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505050"/>
                </a:solidFill>
                <a:effectLst/>
                <a:uLnTx/>
                <a:uFillTx/>
                <a:latin typeface="Helvetica Neue"/>
                <a:ea typeface="+mn-ea"/>
                <a:cs typeface="+mn-cs"/>
              </a:rPr>
              <a:t> </a:t>
            </a:r>
            <a:endParaRPr kumimoji="0" lang="en-US" sz="1667"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Rectangle 9"/>
          <p:cNvSpPr/>
          <p:nvPr/>
        </p:nvSpPr>
        <p:spPr>
          <a:xfrm>
            <a:off x="450712" y="2521747"/>
            <a:ext cx="4939479" cy="3922442"/>
          </a:xfrm>
          <a:prstGeom prst="rect">
            <a:avLst/>
          </a:prstGeom>
        </p:spPr>
        <p:txBody>
          <a:bodyPr wrap="square">
            <a:spAutoFit/>
          </a:bodyPr>
          <a:lstStyle/>
          <a:p>
            <a:pPr marL="0" marR="0" lvl="0" indent="0" algn="l" defTabSz="896386" rtl="0" eaLnBrk="1" fontAlgn="base" latinLnBrk="0" hangingPunct="1">
              <a:lnSpc>
                <a:spcPct val="100000"/>
              </a:lnSpc>
              <a:spcBef>
                <a:spcPts val="784"/>
              </a:spcBef>
              <a:spcAft>
                <a:spcPts val="0"/>
              </a:spcAft>
              <a:buClrTx/>
              <a:buSzTx/>
              <a:buFontTx/>
              <a:buNone/>
              <a:tabLst/>
              <a:defRPr/>
            </a:pPr>
            <a:r>
              <a:rPr kumimoji="0" lang="en-US" sz="2353" b="1" i="0" u="none" strike="noStrike" kern="1200" cap="none" spc="0" normalizeH="0" baseline="0" noProof="0" dirty="0">
                <a:ln>
                  <a:noFill/>
                </a:ln>
                <a:solidFill>
                  <a:srgbClr val="505050"/>
                </a:solidFill>
                <a:effectLst/>
                <a:uLnTx/>
                <a:uFillTx/>
                <a:latin typeface="Segoe UI"/>
                <a:ea typeface="+mn-ea"/>
                <a:cs typeface="+mn-cs"/>
              </a:rPr>
              <a:t>At Microsoft, we never take your trust for granted  </a:t>
            </a:r>
          </a:p>
          <a:p>
            <a:pPr marL="280121" marR="0" lvl="0" indent="-280121" algn="l" defTabSz="896386" rtl="0" eaLnBrk="1" fontAlgn="base" latinLnBrk="0" hangingPunct="1">
              <a:lnSpc>
                <a:spcPct val="100000"/>
              </a:lnSpc>
              <a:spcBef>
                <a:spcPts val="784"/>
              </a:spcBef>
              <a:spcAft>
                <a:spcPts val="588"/>
              </a:spcAft>
              <a:buClrTx/>
              <a:buSzTx/>
              <a:buFont typeface="Arial" panose="020B0604020202020204" pitchFamily="34" charset="0"/>
              <a:buChar char="•"/>
              <a:tabLst/>
              <a:defRPr/>
            </a:pPr>
            <a:r>
              <a:rPr kumimoji="0" lang="en-US" sz="2157" b="0" i="0" u="none" strike="noStrike" kern="1200" cap="none" spc="0" normalizeH="0" baseline="0" noProof="0" dirty="0">
                <a:ln>
                  <a:noFill/>
                </a:ln>
                <a:solidFill>
                  <a:srgbClr val="505050"/>
                </a:solidFill>
                <a:effectLst/>
                <a:uLnTx/>
                <a:uFillTx/>
                <a:latin typeface="Segoe UI"/>
                <a:ea typeface="+mn-ea"/>
                <a:cs typeface="+mn-cs"/>
              </a:rPr>
              <a:t>We are serious about our commitment to protect customers in a cloud first world. </a:t>
            </a:r>
          </a:p>
          <a:p>
            <a:pPr marL="280121" marR="0" lvl="0" indent="-280121" algn="l" defTabSz="896386" rtl="0" eaLnBrk="1" fontAlgn="base" latinLnBrk="0" hangingPunct="1">
              <a:lnSpc>
                <a:spcPct val="100000"/>
              </a:lnSpc>
              <a:spcBef>
                <a:spcPts val="784"/>
              </a:spcBef>
              <a:spcAft>
                <a:spcPts val="588"/>
              </a:spcAft>
              <a:buClrTx/>
              <a:buSzTx/>
              <a:buFont typeface="Arial" panose="020B0604020202020204" pitchFamily="34" charset="0"/>
              <a:buChar char="•"/>
              <a:tabLst/>
              <a:defRPr/>
            </a:pPr>
            <a:r>
              <a:rPr kumimoji="0" lang="en-US" sz="2157" b="0" i="0" u="none" strike="noStrike" kern="1200" cap="none" spc="0" normalizeH="0" baseline="0" noProof="0" dirty="0">
                <a:ln>
                  <a:noFill/>
                </a:ln>
                <a:solidFill>
                  <a:srgbClr val="505050"/>
                </a:solidFill>
                <a:effectLst/>
                <a:uLnTx/>
                <a:uFillTx/>
                <a:latin typeface="Segoe UI"/>
                <a:ea typeface="+mn-ea"/>
                <a:cs typeface="+mn-cs"/>
              </a:rPr>
              <a:t>We live by standards and practices designed to earn your confidence.</a:t>
            </a:r>
          </a:p>
          <a:p>
            <a:pPr marL="280121" marR="0" lvl="0" indent="-280121" algn="l" defTabSz="896386" rtl="0" eaLnBrk="1" fontAlgn="base" latinLnBrk="0" hangingPunct="1">
              <a:lnSpc>
                <a:spcPct val="100000"/>
              </a:lnSpc>
              <a:spcBef>
                <a:spcPts val="784"/>
              </a:spcBef>
              <a:spcAft>
                <a:spcPts val="588"/>
              </a:spcAft>
              <a:buClrTx/>
              <a:buSzTx/>
              <a:buFont typeface="Arial" panose="020B0604020202020204" pitchFamily="34" charset="0"/>
              <a:buChar char="•"/>
              <a:tabLst/>
              <a:defRPr/>
            </a:pPr>
            <a:r>
              <a:rPr kumimoji="0" lang="en-US" sz="2157" b="0" i="0" u="none" strike="noStrike" kern="1200" cap="none" spc="0" normalizeH="0" baseline="0" noProof="0" dirty="0">
                <a:ln>
                  <a:noFill/>
                </a:ln>
                <a:solidFill>
                  <a:srgbClr val="505050"/>
                </a:solidFill>
                <a:effectLst/>
                <a:uLnTx/>
                <a:uFillTx/>
                <a:latin typeface="Segoe UI"/>
                <a:ea typeface="+mn-ea"/>
                <a:cs typeface="+mn-cs"/>
              </a:rPr>
              <a:t>We collaborate with industry and regulators to build trust in the cloud ecosystem.</a:t>
            </a:r>
          </a:p>
        </p:txBody>
      </p:sp>
      <p:sp>
        <p:nvSpPr>
          <p:cNvPr id="12" name="Rectangle 11"/>
          <p:cNvSpPr/>
          <p:nvPr/>
        </p:nvSpPr>
        <p:spPr>
          <a:xfrm>
            <a:off x="10033490" y="5874556"/>
            <a:ext cx="1884532" cy="392245"/>
          </a:xfrm>
          <a:prstGeom prst="rect">
            <a:avLst/>
          </a:prstGeom>
        </p:spPr>
        <p:txBody>
          <a:bodyPr wrap="none">
            <a:sp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dirty="0">
                <a:ln>
                  <a:noFill/>
                </a:ln>
                <a:solidFill>
                  <a:srgbClr val="FFFFFF"/>
                </a:solidFill>
                <a:effectLst/>
                <a:uLnTx/>
                <a:uFillTx/>
                <a:latin typeface="Segoe UI"/>
                <a:ea typeface="+mn-ea"/>
                <a:cs typeface="+mn-cs"/>
              </a:rPr>
              <a:t>– Satya Nadella</a:t>
            </a:r>
          </a:p>
        </p:txBody>
      </p:sp>
      <p:sp>
        <p:nvSpPr>
          <p:cNvPr id="9" name="Rectangle 8"/>
          <p:cNvSpPr/>
          <p:nvPr/>
        </p:nvSpPr>
        <p:spPr>
          <a:xfrm>
            <a:off x="6089505" y="487"/>
            <a:ext cx="170014" cy="6857027"/>
          </a:xfrm>
          <a:prstGeom prst="rect">
            <a:avLst/>
          </a:prstGeom>
          <a:solidFill>
            <a:srgbClr val="FFFFFF">
              <a:alpha val="50196"/>
            </a:srgb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Tree>
    <p:extLst>
      <p:ext uri="{BB962C8B-B14F-4D97-AF65-F5344CB8AC3E}">
        <p14:creationId xmlns:p14="http://schemas.microsoft.com/office/powerpoint/2010/main" val="255015012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p:txBody>
          <a:bodyPr/>
          <a:lstStyle/>
          <a:p>
            <a:r>
              <a:rPr lang="en-US" dirty="0"/>
              <a:t>Trusted Cloud Principles</a:t>
            </a:r>
          </a:p>
        </p:txBody>
      </p:sp>
      <p:sp>
        <p:nvSpPr>
          <p:cNvPr id="30" name="Text Placeholder 30"/>
          <p:cNvSpPr txBox="1">
            <a:spLocks/>
          </p:cNvSpPr>
          <p:nvPr/>
        </p:nvSpPr>
        <p:spPr>
          <a:xfrm>
            <a:off x="270067" y="986450"/>
            <a:ext cx="11654187" cy="564814"/>
          </a:xfrm>
          <a:prstGeom prst="rect">
            <a:avLst/>
          </a:prstGeom>
        </p:spPr>
        <p:txBody>
          <a:bodyPr vert="horz" wrap="square" lIns="146284" tIns="91427" rIns="146284" bIns="91427" rtlCol="0">
            <a:sp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354" rtl="0" eaLnBrk="1" fontAlgn="auto" latinLnBrk="0" hangingPunct="1">
              <a:lnSpc>
                <a:spcPct val="90000"/>
              </a:lnSpc>
              <a:spcBef>
                <a:spcPct val="20000"/>
              </a:spcBef>
              <a:spcAft>
                <a:spcPts val="0"/>
              </a:spcAft>
              <a:buClrTx/>
              <a:buSzPct val="90000"/>
              <a:buFont typeface="Arial" pitchFamily="34" charset="0"/>
              <a:buNone/>
              <a:tabLst/>
              <a:defRPr/>
            </a:pPr>
            <a:r>
              <a:rPr kumimoji="0" lang="en-US" sz="2745"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Light"/>
                <a:ea typeface="+mn-ea"/>
                <a:cs typeface="+mn-cs"/>
              </a:rPr>
              <a:t>Commitment to principles worthy of your organization’s trust </a:t>
            </a:r>
          </a:p>
        </p:txBody>
      </p:sp>
      <p:sp>
        <p:nvSpPr>
          <p:cNvPr id="33" name="Rectangle 32"/>
          <p:cNvSpPr/>
          <p:nvPr/>
        </p:nvSpPr>
        <p:spPr>
          <a:xfrm>
            <a:off x="8994347"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 name="Rectangle 5"/>
          <p:cNvSpPr/>
          <p:nvPr/>
        </p:nvSpPr>
        <p:spPr bwMode="auto">
          <a:xfrm>
            <a:off x="3299621"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provide you with control over your data to help keep it private.</a:t>
            </a:r>
          </a:p>
          <a:p>
            <a:pPr marL="0" marR="0" lvl="0" indent="0" algn="l" defTabSz="896043"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53" name="Rectangle 52"/>
          <p:cNvSpPr/>
          <p:nvPr/>
        </p:nvSpPr>
        <p:spPr bwMode="auto">
          <a:xfrm>
            <a:off x="3299621" y="1887968"/>
            <a:ext cx="2806350" cy="2286915"/>
          </a:xfrm>
          <a:prstGeom prst="rect">
            <a:avLst/>
          </a:prstGeom>
          <a:solidFill>
            <a:schemeClr val="accent3">
              <a:lumMod val="7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Privacy &amp; Control</a:t>
            </a:r>
          </a:p>
        </p:txBody>
      </p:sp>
      <p:sp>
        <p:nvSpPr>
          <p:cNvPr id="34" name="Rectangle 33"/>
          <p:cNvSpPr/>
          <p:nvPr/>
        </p:nvSpPr>
        <p:spPr>
          <a:xfrm>
            <a:off x="3299619"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5" name="Rectangle 4"/>
          <p:cNvSpPr/>
          <p:nvPr/>
        </p:nvSpPr>
        <p:spPr bwMode="auto">
          <a:xfrm>
            <a:off x="457061"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implement strong security measures to safeguard your data.</a:t>
            </a:r>
            <a:endParaRPr kumimoji="0" lang="en-US" sz="1765" b="0" i="0" u="none" strike="sng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endParaRPr>
          </a:p>
        </p:txBody>
      </p:sp>
      <p:sp>
        <p:nvSpPr>
          <p:cNvPr id="64" name="Rectangle 63"/>
          <p:cNvSpPr/>
          <p:nvPr/>
        </p:nvSpPr>
        <p:spPr bwMode="auto">
          <a:xfrm>
            <a:off x="457061" y="1887968"/>
            <a:ext cx="2806350" cy="2286915"/>
          </a:xfrm>
          <a:prstGeom prst="rect">
            <a:avLst/>
          </a:prstGeom>
          <a:solidFill>
            <a:schemeClr val="accent1"/>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 Security</a:t>
            </a:r>
          </a:p>
        </p:txBody>
      </p:sp>
      <p:sp>
        <p:nvSpPr>
          <p:cNvPr id="35" name="Rectangle 34"/>
          <p:cNvSpPr/>
          <p:nvPr/>
        </p:nvSpPr>
        <p:spPr>
          <a:xfrm>
            <a:off x="457059"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8" name="Rectangle 7"/>
          <p:cNvSpPr/>
          <p:nvPr/>
        </p:nvSpPr>
        <p:spPr bwMode="auto">
          <a:xfrm>
            <a:off x="8994348"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explain what we do with your data </a:t>
            </a:r>
            <a:r>
              <a:rPr kumimoji="0" lang="en-US" sz="1765" b="0" i="0" u="none" strike="noStrike" kern="1200" cap="none" spc="-20" normalizeH="0" baseline="0" noProof="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in clear, </a:t>
            </a: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plain language.</a:t>
            </a:r>
          </a:p>
        </p:txBody>
      </p:sp>
      <p:sp>
        <p:nvSpPr>
          <p:cNvPr id="67" name="Rectangle 66"/>
          <p:cNvSpPr/>
          <p:nvPr/>
        </p:nvSpPr>
        <p:spPr bwMode="auto">
          <a:xfrm>
            <a:off x="8994348" y="1887968"/>
            <a:ext cx="2806350" cy="2286915"/>
          </a:xfrm>
          <a:prstGeom prst="rect">
            <a:avLst/>
          </a:prstGeom>
          <a:solidFill>
            <a:srgbClr val="2096DE"/>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49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Transparency</a:t>
            </a:r>
          </a:p>
        </p:txBody>
      </p:sp>
      <p:sp>
        <p:nvSpPr>
          <p:cNvPr id="44" name="Rectangle 43"/>
          <p:cNvSpPr/>
          <p:nvPr/>
        </p:nvSpPr>
        <p:spPr>
          <a:xfrm>
            <a:off x="8994347"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pic>
        <p:nvPicPr>
          <p:cNvPr id="24"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743732"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3518941"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6373302"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C:\Users\Sarah\Documents\_SSD_Business\Creative_Resources\Photos\fade.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9207527" y="5918086"/>
            <a:ext cx="2332330" cy="37052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6142345" y="4168441"/>
            <a:ext cx="2806350" cy="1312707"/>
          </a:xfrm>
          <a:prstGeom prst="rect">
            <a:avLst/>
          </a:prstGeom>
          <a:solidFill>
            <a:srgbClr val="ECECE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64" tIns="91427" rIns="89642" bIns="91427" numCol="1" rtlCol="0" anchor="t" anchorCtr="0" compatLnSpc="1">
            <a:prstTxWarp prst="textNoShape">
              <a:avLst/>
            </a:prstTxWarp>
            <a:noAutofit/>
          </a:bodyPr>
          <a:lstStyle/>
          <a:p>
            <a:pPr marL="0" marR="0" lvl="0" indent="0" algn="l" defTabSz="89604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20" normalizeH="0" baseline="0" noProof="0" dirty="0">
                <a:ln>
                  <a:noFill/>
                </a:ln>
                <a:gradFill>
                  <a:gsLst>
                    <a:gs pos="3540">
                      <a:srgbClr val="505050"/>
                    </a:gs>
                    <a:gs pos="80000">
                      <a:srgbClr val="505050"/>
                    </a:gs>
                  </a:gsLst>
                  <a:lin ang="5400000" scaled="1"/>
                </a:gradFill>
                <a:effectLst/>
                <a:uLnTx/>
                <a:uFillTx/>
                <a:latin typeface="Segoe UI"/>
                <a:ea typeface="Segoe UI" panose="020B0502040204020203" pitchFamily="34" charset="0"/>
                <a:cs typeface="Segoe UI" panose="020B0502040204020203" pitchFamily="34" charset="0"/>
              </a:rPr>
              <a:t>We will help you meet your specific compliance needs.</a:t>
            </a:r>
          </a:p>
        </p:txBody>
      </p:sp>
      <p:sp>
        <p:nvSpPr>
          <p:cNvPr id="73" name="Rectangle 72"/>
          <p:cNvSpPr/>
          <p:nvPr/>
        </p:nvSpPr>
        <p:spPr bwMode="auto">
          <a:xfrm>
            <a:off x="6142345" y="1887968"/>
            <a:ext cx="2808350" cy="2286915"/>
          </a:xfrm>
          <a:prstGeom prst="rect">
            <a:avLst/>
          </a:prstGeom>
          <a:solidFill>
            <a:schemeClr val="accent3"/>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34464" tIns="179285" rIns="0" bIns="0" numCol="1" rtlCol="0" anchor="t" anchorCtr="0" compatLnSpc="1">
            <a:prstTxWarp prst="textNoShape">
              <a:avLst/>
            </a:prstTxWarp>
            <a:noAutofit/>
          </a:bodyPr>
          <a:lstStyle/>
          <a:p>
            <a:pPr marL="0" marR="0" lvl="0" indent="0" algn="l" defTabSz="914192" rtl="0" eaLnBrk="1" fontAlgn="auto" latinLnBrk="0" hangingPunct="1">
              <a:lnSpc>
                <a:spcPct val="90000"/>
              </a:lnSpc>
              <a:spcBef>
                <a:spcPts val="0"/>
              </a:spcBef>
              <a:spcAft>
                <a:spcPts val="575"/>
              </a:spcAft>
              <a:buClrTx/>
              <a:buSzTx/>
              <a:buFontTx/>
              <a:buNone/>
              <a:tabLst/>
              <a:defRPr/>
            </a:pPr>
            <a:r>
              <a:rPr kumimoji="0" lang="en-US" sz="2353" b="0" i="0" u="none" strike="noStrike" kern="1200" cap="none" spc="0" normalizeH="0" baseline="0" noProof="0" dirty="0">
                <a:ln>
                  <a:noFill/>
                </a:ln>
                <a:gradFill>
                  <a:gsLst>
                    <a:gs pos="13274">
                      <a:srgbClr val="FFFFFF"/>
                    </a:gs>
                    <a:gs pos="49000">
                      <a:srgbClr val="FFFFFF"/>
                    </a:gs>
                  </a:gsLst>
                  <a:lin ang="5400000" scaled="1"/>
                </a:gradFill>
                <a:effectLst/>
                <a:uLnTx/>
                <a:uFillTx/>
                <a:latin typeface="Segoe UI Semibold" panose="020B0702040204020203" pitchFamily="34" charset="0"/>
                <a:ea typeface="+mn-ea"/>
                <a:cs typeface="Segoe UI Semibold" panose="020B0702040204020203" pitchFamily="34" charset="0"/>
              </a:rPr>
              <a:t>Compliance</a:t>
            </a:r>
          </a:p>
        </p:txBody>
      </p:sp>
      <p:sp>
        <p:nvSpPr>
          <p:cNvPr id="36" name="Rectangle 35"/>
          <p:cNvSpPr/>
          <p:nvPr/>
        </p:nvSpPr>
        <p:spPr>
          <a:xfrm>
            <a:off x="6142345" y="4026668"/>
            <a:ext cx="2806351" cy="14457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37" name="Freeform 164"/>
          <p:cNvSpPr>
            <a:spLocks noEditPoints="1"/>
          </p:cNvSpPr>
          <p:nvPr/>
        </p:nvSpPr>
        <p:spPr bwMode="black">
          <a:xfrm>
            <a:off x="4294997" y="2640925"/>
            <a:ext cx="778312" cy="107905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7" tIns="40344" rIns="80687" bIns="40344"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a:ln>
                <a:noFill/>
              </a:ln>
              <a:solidFill>
                <a:srgbClr val="505050"/>
              </a:solidFill>
              <a:effectLst/>
              <a:uLnTx/>
              <a:uFillTx/>
              <a:latin typeface="Segoe UI"/>
              <a:ea typeface="+mn-ea"/>
              <a:cs typeface="+mn-cs"/>
            </a:endParaRPr>
          </a:p>
        </p:txBody>
      </p:sp>
      <p:sp>
        <p:nvSpPr>
          <p:cNvPr id="48" name="Freeform 9"/>
          <p:cNvSpPr>
            <a:spLocks noChangeAspect="1" noEditPoints="1"/>
          </p:cNvSpPr>
          <p:nvPr/>
        </p:nvSpPr>
        <p:spPr bwMode="auto">
          <a:xfrm>
            <a:off x="1505433" y="2658341"/>
            <a:ext cx="688800" cy="992338"/>
          </a:xfrm>
          <a:custGeom>
            <a:avLst/>
            <a:gdLst>
              <a:gd name="T0" fmla="*/ 208 w 208"/>
              <a:gd name="T1" fmla="*/ 287 h 300"/>
              <a:gd name="T2" fmla="*/ 195 w 208"/>
              <a:gd name="T3" fmla="*/ 300 h 300"/>
              <a:gd name="T4" fmla="*/ 13 w 208"/>
              <a:gd name="T5" fmla="*/ 300 h 300"/>
              <a:gd name="T6" fmla="*/ 0 w 208"/>
              <a:gd name="T7" fmla="*/ 287 h 300"/>
              <a:gd name="T8" fmla="*/ 0 w 208"/>
              <a:gd name="T9" fmla="*/ 158 h 300"/>
              <a:gd name="T10" fmla="*/ 13 w 208"/>
              <a:gd name="T11" fmla="*/ 145 h 300"/>
              <a:gd name="T12" fmla="*/ 195 w 208"/>
              <a:gd name="T13" fmla="*/ 145 h 300"/>
              <a:gd name="T14" fmla="*/ 208 w 208"/>
              <a:gd name="T15" fmla="*/ 158 h 300"/>
              <a:gd name="T16" fmla="*/ 208 w 208"/>
              <a:gd name="T17" fmla="*/ 287 h 300"/>
              <a:gd name="T18" fmla="*/ 125 w 208"/>
              <a:gd name="T19" fmla="*/ 207 h 300"/>
              <a:gd name="T20" fmla="*/ 104 w 208"/>
              <a:gd name="T21" fmla="*/ 186 h 300"/>
              <a:gd name="T22" fmla="*/ 83 w 208"/>
              <a:gd name="T23" fmla="*/ 207 h 300"/>
              <a:gd name="T24" fmla="*/ 95 w 208"/>
              <a:gd name="T25" fmla="*/ 226 h 300"/>
              <a:gd name="T26" fmla="*/ 83 w 208"/>
              <a:gd name="T27" fmla="*/ 258 h 300"/>
              <a:gd name="T28" fmla="*/ 125 w 208"/>
              <a:gd name="T29" fmla="*/ 258 h 300"/>
              <a:gd name="T30" fmla="*/ 113 w 208"/>
              <a:gd name="T31" fmla="*/ 226 h 300"/>
              <a:gd name="T32" fmla="*/ 125 w 208"/>
              <a:gd name="T33" fmla="*/ 207 h 300"/>
              <a:gd name="T34" fmla="*/ 191 w 208"/>
              <a:gd name="T35" fmla="*/ 81 h 300"/>
              <a:gd name="T36" fmla="*/ 104 w 208"/>
              <a:gd name="T37" fmla="*/ 0 h 300"/>
              <a:gd name="T38" fmla="*/ 17 w 208"/>
              <a:gd name="T39" fmla="*/ 81 h 300"/>
              <a:gd name="T40" fmla="*/ 17 w 208"/>
              <a:gd name="T41" fmla="*/ 134 h 300"/>
              <a:gd name="T42" fmla="*/ 49 w 208"/>
              <a:gd name="T43" fmla="*/ 134 h 300"/>
              <a:gd name="T44" fmla="*/ 49 w 208"/>
              <a:gd name="T45" fmla="*/ 81 h 300"/>
              <a:gd name="T46" fmla="*/ 104 w 208"/>
              <a:gd name="T47" fmla="*/ 32 h 300"/>
              <a:gd name="T48" fmla="*/ 159 w 208"/>
              <a:gd name="T49" fmla="*/ 81 h 300"/>
              <a:gd name="T50" fmla="*/ 159 w 208"/>
              <a:gd name="T51" fmla="*/ 81 h 300"/>
              <a:gd name="T52" fmla="*/ 159 w 208"/>
              <a:gd name="T53" fmla="*/ 134 h 300"/>
              <a:gd name="T54" fmla="*/ 191 w 208"/>
              <a:gd name="T55" fmla="*/ 134 h 300"/>
              <a:gd name="T56" fmla="*/ 191 w 208"/>
              <a:gd name="T57" fmla="*/ 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300">
                <a:moveTo>
                  <a:pt x="208" y="287"/>
                </a:moveTo>
                <a:cubicBezTo>
                  <a:pt x="208" y="294"/>
                  <a:pt x="202" y="300"/>
                  <a:pt x="195" y="300"/>
                </a:cubicBezTo>
                <a:cubicBezTo>
                  <a:pt x="13" y="300"/>
                  <a:pt x="13" y="300"/>
                  <a:pt x="13" y="300"/>
                </a:cubicBezTo>
                <a:cubicBezTo>
                  <a:pt x="6" y="300"/>
                  <a:pt x="0" y="294"/>
                  <a:pt x="0" y="287"/>
                </a:cubicBezTo>
                <a:cubicBezTo>
                  <a:pt x="0" y="158"/>
                  <a:pt x="0" y="158"/>
                  <a:pt x="0" y="158"/>
                </a:cubicBezTo>
                <a:cubicBezTo>
                  <a:pt x="0" y="151"/>
                  <a:pt x="6" y="145"/>
                  <a:pt x="13" y="145"/>
                </a:cubicBezTo>
                <a:cubicBezTo>
                  <a:pt x="195" y="145"/>
                  <a:pt x="195" y="145"/>
                  <a:pt x="195" y="145"/>
                </a:cubicBezTo>
                <a:cubicBezTo>
                  <a:pt x="202" y="145"/>
                  <a:pt x="208" y="151"/>
                  <a:pt x="208" y="158"/>
                </a:cubicBezTo>
                <a:lnTo>
                  <a:pt x="208" y="287"/>
                </a:lnTo>
                <a:close/>
                <a:moveTo>
                  <a:pt x="125" y="207"/>
                </a:moveTo>
                <a:cubicBezTo>
                  <a:pt x="125" y="196"/>
                  <a:pt x="116" y="186"/>
                  <a:pt x="104" y="186"/>
                </a:cubicBezTo>
                <a:cubicBezTo>
                  <a:pt x="92" y="186"/>
                  <a:pt x="83" y="196"/>
                  <a:pt x="83" y="207"/>
                </a:cubicBezTo>
                <a:cubicBezTo>
                  <a:pt x="83" y="216"/>
                  <a:pt x="88" y="223"/>
                  <a:pt x="95" y="226"/>
                </a:cubicBezTo>
                <a:cubicBezTo>
                  <a:pt x="83" y="258"/>
                  <a:pt x="83" y="258"/>
                  <a:pt x="83" y="258"/>
                </a:cubicBezTo>
                <a:cubicBezTo>
                  <a:pt x="125" y="258"/>
                  <a:pt x="125" y="258"/>
                  <a:pt x="125" y="258"/>
                </a:cubicBezTo>
                <a:cubicBezTo>
                  <a:pt x="113" y="226"/>
                  <a:pt x="113" y="226"/>
                  <a:pt x="113" y="226"/>
                </a:cubicBezTo>
                <a:cubicBezTo>
                  <a:pt x="120" y="223"/>
                  <a:pt x="125" y="216"/>
                  <a:pt x="125" y="207"/>
                </a:cubicBezTo>
                <a:close/>
                <a:moveTo>
                  <a:pt x="191" y="81"/>
                </a:moveTo>
                <a:cubicBezTo>
                  <a:pt x="191" y="35"/>
                  <a:pt x="152" y="0"/>
                  <a:pt x="104" y="0"/>
                </a:cubicBezTo>
                <a:cubicBezTo>
                  <a:pt x="56" y="0"/>
                  <a:pt x="17" y="35"/>
                  <a:pt x="17" y="81"/>
                </a:cubicBezTo>
                <a:cubicBezTo>
                  <a:pt x="17" y="134"/>
                  <a:pt x="17" y="134"/>
                  <a:pt x="17" y="134"/>
                </a:cubicBezTo>
                <a:cubicBezTo>
                  <a:pt x="49" y="134"/>
                  <a:pt x="49" y="134"/>
                  <a:pt x="49" y="134"/>
                </a:cubicBezTo>
                <a:cubicBezTo>
                  <a:pt x="49" y="81"/>
                  <a:pt x="49" y="81"/>
                  <a:pt x="49" y="81"/>
                </a:cubicBezTo>
                <a:cubicBezTo>
                  <a:pt x="49" y="55"/>
                  <a:pt x="72" y="33"/>
                  <a:pt x="104" y="32"/>
                </a:cubicBezTo>
                <a:cubicBezTo>
                  <a:pt x="136" y="33"/>
                  <a:pt x="159" y="55"/>
                  <a:pt x="159" y="81"/>
                </a:cubicBezTo>
                <a:cubicBezTo>
                  <a:pt x="159" y="81"/>
                  <a:pt x="159" y="81"/>
                  <a:pt x="159" y="81"/>
                </a:cubicBezTo>
                <a:cubicBezTo>
                  <a:pt x="159" y="134"/>
                  <a:pt x="159" y="134"/>
                  <a:pt x="159" y="134"/>
                </a:cubicBezTo>
                <a:cubicBezTo>
                  <a:pt x="191" y="134"/>
                  <a:pt x="191" y="134"/>
                  <a:pt x="191" y="134"/>
                </a:cubicBezTo>
                <a:cubicBezTo>
                  <a:pt x="191" y="81"/>
                  <a:pt x="191" y="81"/>
                  <a:pt x="191" y="81"/>
                </a:cubicBezTo>
                <a:close/>
              </a:path>
            </a:pathLst>
          </a:custGeom>
          <a:solidFill>
            <a:schemeClr val="bg1"/>
          </a:solidFill>
        </p:spPr>
        <p:txBody>
          <a:bodyPr vert="horz" wrap="square" lIns="89642" tIns="89642" rIns="89642" bIns="268927" numCol="1" anchor="b"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nvGrpSpPr>
          <p:cNvPr id="31" name="Group 30"/>
          <p:cNvGrpSpPr/>
          <p:nvPr/>
        </p:nvGrpSpPr>
        <p:grpSpPr>
          <a:xfrm>
            <a:off x="7071633" y="2618775"/>
            <a:ext cx="1103227" cy="1103227"/>
            <a:chOff x="-4237038" y="3530600"/>
            <a:chExt cx="4568826" cy="4568825"/>
          </a:xfrm>
          <a:solidFill>
            <a:schemeClr val="bg1"/>
          </a:solidFill>
        </p:grpSpPr>
        <p:sp>
          <p:nvSpPr>
            <p:cNvPr id="19"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0"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1"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2"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3"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2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sp>
        <p:nvSpPr>
          <p:cNvPr id="52" name="Freeform 26"/>
          <p:cNvSpPr>
            <a:spLocks noEditPoints="1"/>
          </p:cNvSpPr>
          <p:nvPr/>
        </p:nvSpPr>
        <p:spPr bwMode="auto">
          <a:xfrm>
            <a:off x="9861996" y="2721863"/>
            <a:ext cx="1189450" cy="908823"/>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03661214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2383" y="320482"/>
            <a:ext cx="11547234" cy="6217038"/>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endParaRPr lang="en-US" sz="1800">
              <a:solidFill>
                <a:prstClr val="white"/>
              </a:solidFill>
              <a:latin typeface="Calibri" panose="020F0502020204030204"/>
            </a:endParaRPr>
          </a:p>
        </p:txBody>
      </p:sp>
      <p:sp>
        <p:nvSpPr>
          <p:cNvPr id="2" name="Title 1">
            <a:extLst>
              <a:ext uri="{FF2B5EF4-FFF2-40B4-BE49-F238E27FC236}">
                <a16:creationId xmlns:a16="http://schemas.microsoft.com/office/drawing/2014/main" id="{C6B164BD-87A9-4900-9732-B288D9E6BB21}"/>
              </a:ext>
            </a:extLst>
          </p:cNvPr>
          <p:cNvSpPr>
            <a:spLocks noGrp="1"/>
          </p:cNvSpPr>
          <p:nvPr>
            <p:ph type="title"/>
          </p:nvPr>
        </p:nvSpPr>
        <p:spPr>
          <a:xfrm>
            <a:off x="838946" y="964227"/>
            <a:ext cx="3493867" cy="4929546"/>
          </a:xfrm>
        </p:spPr>
        <p:txBody>
          <a:bodyPr>
            <a:normAutofit/>
          </a:bodyPr>
          <a:lstStyle/>
          <a:p>
            <a:pPr algn="r"/>
            <a:r>
              <a:rPr lang="en-US" sz="3529" b="1" spc="-102" dirty="0">
                <a:ln w="3175">
                  <a:noFill/>
                </a:ln>
                <a:solidFill>
                  <a:srgbClr val="0072C6"/>
                </a:solidFill>
                <a:latin typeface="Segoe UI Semibold" panose="020B0702040204020203" pitchFamily="34" charset="0"/>
                <a:ea typeface="+mn-ea"/>
                <a:cs typeface="Segoe UI Semibold" panose="020B0702040204020203" pitchFamily="34" charset="0"/>
              </a:rPr>
              <a:t>Microsoft Principles for Government Requests</a:t>
            </a:r>
            <a:endParaRPr lang="en-US" sz="3529" dirty="0">
              <a:solidFill>
                <a:srgbClr val="0072C6"/>
              </a:solidFill>
              <a:latin typeface="Segoe UI Semibold" panose="020B0702040204020203" pitchFamily="34" charset="0"/>
              <a:cs typeface="Segoe UI Semibold" panose="020B0702040204020203" pitchFamily="34" charset="0"/>
            </a:endParaRPr>
          </a:p>
        </p:txBody>
      </p:sp>
      <p:cxnSp>
        <p:nvCxnSpPr>
          <p:cNvPr id="10" name="Straight Connector 9">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500" y="2057595"/>
            <a:ext cx="0" cy="2742811"/>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C70446BB-50CC-4517-B223-D14C172568A1}"/>
              </a:ext>
            </a:extLst>
          </p:cNvPr>
          <p:cNvSpPr>
            <a:spLocks noGrp="1"/>
          </p:cNvSpPr>
          <p:nvPr>
            <p:ph idx="1"/>
          </p:nvPr>
        </p:nvSpPr>
        <p:spPr>
          <a:xfrm>
            <a:off x="4795235" y="320481"/>
            <a:ext cx="6611961" cy="6217038"/>
          </a:xfrm>
        </p:spPr>
        <p:txBody>
          <a:bodyPr anchor="ctr">
            <a:normAutofit/>
          </a:bodyPr>
          <a:lstStyle/>
          <a:p>
            <a:pPr marL="228454" indent="-228454" defTabSz="932418">
              <a:lnSpc>
                <a:spcPct val="100000"/>
              </a:lnSpc>
              <a:spcBef>
                <a:spcPts val="588"/>
              </a:spcBef>
              <a:spcAft>
                <a:spcPts val="1765"/>
              </a:spcAft>
              <a:buFont typeface="Wingdings" panose="05000000000000000000" pitchFamily="2" charset="2"/>
              <a:buChar char="§"/>
            </a:pPr>
            <a:r>
              <a:rPr lang="en-US" sz="1961" b="1" dirty="0">
                <a:latin typeface="Segoe UI" panose="020B0502040204020203" pitchFamily="34" charset="0"/>
                <a:cs typeface="Segoe UI" panose="020B0502040204020203" pitchFamily="34" charset="0"/>
              </a:rPr>
              <a:t>Microsoft </a:t>
            </a:r>
            <a:r>
              <a:rPr lang="en-US" sz="1961" b="1" u="sng" dirty="0">
                <a:solidFill>
                  <a:schemeClr val="accent6"/>
                </a:solidFill>
                <a:latin typeface="Segoe UI" panose="020B0502040204020203" pitchFamily="34" charset="0"/>
                <a:cs typeface="Segoe UI" panose="020B0502040204020203" pitchFamily="34" charset="0"/>
              </a:rPr>
              <a:t>only discloses data </a:t>
            </a:r>
            <a:r>
              <a:rPr lang="en-US" sz="1961" b="1" dirty="0">
                <a:latin typeface="Segoe UI" panose="020B0502040204020203" pitchFamily="34" charset="0"/>
                <a:cs typeface="Segoe UI" panose="020B0502040204020203" pitchFamily="34" charset="0"/>
              </a:rPr>
              <a:t>when we are clearly compelled to do so.</a:t>
            </a:r>
            <a:endParaRPr lang="en-US"/>
          </a:p>
          <a:p>
            <a:pPr marL="228454" indent="-228454" defTabSz="932418">
              <a:lnSpc>
                <a:spcPct val="100000"/>
              </a:lnSpc>
              <a:spcBef>
                <a:spcPts val="588"/>
              </a:spcBef>
              <a:spcAft>
                <a:spcPts val="1765"/>
              </a:spcAft>
              <a:buFont typeface="Wingdings" panose="05000000000000000000" pitchFamily="2" charset="2"/>
              <a:buChar char="§"/>
            </a:pPr>
            <a:r>
              <a:rPr lang="en-US" sz="1961" b="1" dirty="0">
                <a:latin typeface="Segoe UI"/>
                <a:cs typeface="Segoe UI"/>
              </a:rPr>
              <a:t>Microsoft </a:t>
            </a:r>
            <a:r>
              <a:rPr lang="en-US" sz="1961" b="1" u="sng" dirty="0">
                <a:solidFill>
                  <a:schemeClr val="accent6"/>
                </a:solidFill>
                <a:latin typeface="Segoe UI"/>
                <a:cs typeface="Segoe UI"/>
              </a:rPr>
              <a:t>reviews every legal demand </a:t>
            </a:r>
            <a:r>
              <a:rPr lang="en-US" sz="1961" b="1" dirty="0">
                <a:latin typeface="Segoe UI"/>
                <a:cs typeface="Segoe UI"/>
              </a:rPr>
              <a:t>to ensure it is valid and only provides data pertaining to specific accounts/identifiers.  </a:t>
            </a:r>
            <a:r>
              <a:rPr lang="en-US" sz="1961" dirty="0">
                <a:latin typeface="Segoe UI Light"/>
                <a:cs typeface="Segoe UI Light"/>
              </a:rPr>
              <a:t>Law enforcement must serve us with an individualized order and we only provide the data specified in the order.</a:t>
            </a:r>
            <a:endParaRPr lang="en-US" sz="1961" dirty="0">
              <a:latin typeface="Segoe UI Light" panose="020B0502040204020203" pitchFamily="34" charset="0"/>
              <a:cs typeface="Segoe UI Light" panose="020B0502040204020203" pitchFamily="34" charset="0"/>
            </a:endParaRPr>
          </a:p>
          <a:p>
            <a:pPr marL="228454" indent="-228454" defTabSz="932418">
              <a:lnSpc>
                <a:spcPct val="100000"/>
              </a:lnSpc>
              <a:spcBef>
                <a:spcPts val="588"/>
              </a:spcBef>
              <a:spcAft>
                <a:spcPts val="1765"/>
              </a:spcAft>
              <a:buFont typeface="Wingdings" panose="05000000000000000000" pitchFamily="2" charset="2"/>
              <a:buChar char="§"/>
            </a:pPr>
            <a:r>
              <a:rPr lang="en-US" sz="1961" b="1" dirty="0">
                <a:latin typeface="Segoe UI" panose="020B0502040204020203" pitchFamily="34" charset="0"/>
                <a:cs typeface="Segoe UI" panose="020B0502040204020203" pitchFamily="34" charset="0"/>
              </a:rPr>
              <a:t>Microsoft </a:t>
            </a:r>
            <a:r>
              <a:rPr lang="en-US" sz="1961" b="1" u="sng" dirty="0">
                <a:solidFill>
                  <a:srgbClr val="FF0000"/>
                </a:solidFill>
                <a:latin typeface="Segoe UI" panose="020B0502040204020203" pitchFamily="34" charset="0"/>
                <a:cs typeface="Segoe UI" panose="020B0502040204020203" pitchFamily="34" charset="0"/>
              </a:rPr>
              <a:t>does not </a:t>
            </a:r>
            <a:r>
              <a:rPr lang="en-US" sz="1961" b="1" dirty="0">
                <a:latin typeface="Segoe UI" panose="020B0502040204020203" pitchFamily="34" charset="0"/>
                <a:cs typeface="Segoe UI" panose="020B0502040204020203" pitchFamily="34" charset="0"/>
              </a:rPr>
              <a:t>provide any government with “direct and unfettered access” to customer data. </a:t>
            </a:r>
            <a:r>
              <a:rPr lang="en-US" sz="1961" b="1" dirty="0">
                <a:latin typeface="Segoe UI Light" panose="020B0502040204020203" pitchFamily="34" charset="0"/>
                <a:cs typeface="Segoe UI Light" panose="020B0502040204020203" pitchFamily="34" charset="0"/>
              </a:rPr>
              <a:t> </a:t>
            </a:r>
            <a:r>
              <a:rPr lang="en-US" sz="1961" dirty="0">
                <a:latin typeface="Segoe UI Light" panose="020B0502040204020203" pitchFamily="34" charset="0"/>
                <a:cs typeface="Segoe UI Light" panose="020B0502040204020203" pitchFamily="34" charset="0"/>
              </a:rPr>
              <a:t>Instead, if we comply with a demand, we isolate the account/date range the government seeks and will provide it to the government.</a:t>
            </a:r>
          </a:p>
          <a:p>
            <a:pPr marL="228454" indent="-228454" defTabSz="932418">
              <a:lnSpc>
                <a:spcPct val="100000"/>
              </a:lnSpc>
              <a:spcBef>
                <a:spcPts val="588"/>
              </a:spcBef>
              <a:spcAft>
                <a:spcPts val="1765"/>
              </a:spcAft>
              <a:buFont typeface="Wingdings" panose="05000000000000000000" pitchFamily="2" charset="2"/>
              <a:buChar char="§"/>
            </a:pPr>
            <a:r>
              <a:rPr lang="en-US" sz="1961" b="1" dirty="0">
                <a:latin typeface="Segoe UI" panose="020B0502040204020203" pitchFamily="34" charset="0"/>
                <a:cs typeface="Segoe UI" panose="020B0502040204020203" pitchFamily="34" charset="0"/>
              </a:rPr>
              <a:t>Microsoft </a:t>
            </a:r>
            <a:r>
              <a:rPr lang="en-US" sz="1961" b="1" u="sng" dirty="0">
                <a:solidFill>
                  <a:srgbClr val="FF0000"/>
                </a:solidFill>
                <a:latin typeface="Segoe UI" panose="020B0502040204020203" pitchFamily="34" charset="0"/>
                <a:cs typeface="Segoe UI" panose="020B0502040204020203" pitchFamily="34" charset="0"/>
              </a:rPr>
              <a:t>does not </a:t>
            </a:r>
            <a:r>
              <a:rPr lang="en-US" sz="1961" b="1" dirty="0">
                <a:latin typeface="Segoe UI" panose="020B0502040204020203" pitchFamily="34" charset="0"/>
                <a:cs typeface="Segoe UI" panose="020B0502040204020203" pitchFamily="34" charset="0"/>
              </a:rPr>
              <a:t>provide any government with the ability to break encryption, nor do we provide the government with encryption keys.</a:t>
            </a:r>
          </a:p>
        </p:txBody>
      </p:sp>
    </p:spTree>
    <p:extLst>
      <p:ext uri="{BB962C8B-B14F-4D97-AF65-F5344CB8AC3E}">
        <p14:creationId xmlns:p14="http://schemas.microsoft.com/office/powerpoint/2010/main" val="3768939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B8DED5-9A80-42C3-B824-4FBAA31559DF}"/>
              </a:ext>
            </a:extLst>
          </p:cNvPr>
          <p:cNvPicPr>
            <a:picLocks noChangeAspect="1"/>
          </p:cNvPicPr>
          <p:nvPr/>
        </p:nvPicPr>
        <p:blipFill>
          <a:blip r:embed="rId3"/>
          <a:stretch>
            <a:fillRect/>
          </a:stretch>
        </p:blipFill>
        <p:spPr>
          <a:xfrm>
            <a:off x="865" y="486"/>
            <a:ext cx="12233475" cy="6938526"/>
          </a:xfrm>
          <a:prstGeom prst="rect">
            <a:avLst/>
          </a:prstGeom>
        </p:spPr>
      </p:pic>
      <p:sp>
        <p:nvSpPr>
          <p:cNvPr id="6" name="Rectangle 5"/>
          <p:cNvSpPr/>
          <p:nvPr/>
        </p:nvSpPr>
        <p:spPr bwMode="auto">
          <a:xfrm>
            <a:off x="865" y="487"/>
            <a:ext cx="12233475" cy="6978949"/>
          </a:xfrm>
          <a:prstGeom prst="rect">
            <a:avLst/>
          </a:prstGeom>
          <a:gradFill flip="none" rotWithShape="1">
            <a:gsLst>
              <a:gs pos="50500">
                <a:srgbClr val="000000">
                  <a:alpha val="0"/>
                </a:srgbClr>
              </a:gs>
              <a:gs pos="0">
                <a:srgbClr val="000000">
                  <a:alpha val="59000"/>
                </a:srgbClr>
              </a:gs>
              <a:gs pos="92000">
                <a:srgbClr val="000000">
                  <a:alpha val="59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2" name="Title 1"/>
          <p:cNvSpPr>
            <a:spLocks noGrp="1"/>
          </p:cNvSpPr>
          <p:nvPr>
            <p:ph type="title"/>
          </p:nvPr>
        </p:nvSpPr>
        <p:spPr>
          <a:xfrm>
            <a:off x="752570" y="148162"/>
            <a:ext cx="11438565" cy="823919"/>
          </a:xfrm>
        </p:spPr>
        <p:txBody>
          <a:bodyPr>
            <a:noAutofit/>
          </a:bodyPr>
          <a:lstStyle/>
          <a:p>
            <a:r>
              <a:rPr lang="en-US" sz="4000" dirty="0">
                <a:solidFill>
                  <a:schemeClr val="bg1"/>
                </a:solidFill>
              </a:rPr>
              <a:t>South African Government Mission Is To Achieve:</a:t>
            </a:r>
          </a:p>
        </p:txBody>
      </p:sp>
      <p:sp>
        <p:nvSpPr>
          <p:cNvPr id="12" name="TextBox 11"/>
          <p:cNvSpPr txBox="1"/>
          <p:nvPr/>
        </p:nvSpPr>
        <p:spPr>
          <a:xfrm>
            <a:off x="1395844" y="5744436"/>
            <a:ext cx="9593267" cy="849303"/>
          </a:xfrm>
          <a:prstGeom prst="rect">
            <a:avLst/>
          </a:prstGeom>
          <a:noFill/>
        </p:spPr>
        <p:txBody>
          <a:bodyPr wrap="square" lIns="182828" tIns="146263" rIns="182828" bIns="146263" rtlCol="0">
            <a:spAutoFit/>
          </a:bodyPr>
          <a:lstStyle/>
          <a:p>
            <a:pPr marL="0" marR="0" lvl="0" indent="0" algn="ctr" defTabSz="914049" rtl="0" eaLnBrk="1" fontAlgn="auto" latinLnBrk="0" hangingPunct="1">
              <a:lnSpc>
                <a:spcPct val="90000"/>
              </a:lnSpc>
              <a:spcBef>
                <a:spcPts val="0"/>
              </a:spcBef>
              <a:spcAft>
                <a:spcPts val="600"/>
              </a:spcAft>
              <a:buClrTx/>
              <a:buSzTx/>
              <a:buFontTx/>
              <a:buNone/>
              <a:tabLst/>
              <a:defRPr/>
            </a:pPr>
            <a:r>
              <a:rPr kumimoji="0" lang="en-US" sz="1961" b="0" i="1"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en-ZA" sz="1961" b="0" i="1" u="none" strike="noStrike" kern="0" cap="none" spc="0" normalizeH="0" baseline="0" noProof="0" dirty="0">
                <a:ln>
                  <a:noFill/>
                </a:ln>
                <a:solidFill>
                  <a:prstClr val="white"/>
                </a:solidFill>
                <a:effectLst/>
                <a:uLnTx/>
                <a:uFillTx/>
                <a:latin typeface="Calibri" panose="020F0502020204030204"/>
                <a:ea typeface="+mn-ea"/>
                <a:cs typeface="+mn-cs"/>
              </a:rPr>
              <a:t>We are embracing new technologies and approaches that are merging the physical, digital and biological worlds.</a:t>
            </a:r>
            <a:r>
              <a:rPr kumimoji="0" lang="en-US" sz="1961" b="0" i="1" u="none" strike="noStrike" kern="0" cap="none" spc="0" normalizeH="0" baseline="0" noProof="0" dirty="0">
                <a:ln>
                  <a:noFill/>
                </a:ln>
                <a:solidFill>
                  <a:prstClr val="white"/>
                </a:solidFill>
                <a:effectLst/>
                <a:uLnTx/>
                <a:uFillTx/>
                <a:latin typeface="Calibri" panose="020F0502020204030204"/>
                <a:ea typeface="+mn-ea"/>
                <a:cs typeface="+mn-cs"/>
              </a:rPr>
              <a:t>”  </a:t>
            </a:r>
            <a:r>
              <a:rPr kumimoji="0" lang="en-US" sz="1961" b="0" i="0" u="none" strike="noStrike" kern="0" cap="none" spc="0" normalizeH="0" baseline="0" noProof="0" dirty="0">
                <a:ln>
                  <a:noFill/>
                </a:ln>
                <a:solidFill>
                  <a:prstClr val="white"/>
                </a:solidFill>
                <a:effectLst/>
                <a:uLnTx/>
                <a:uFillTx/>
                <a:latin typeface="Calibri" panose="020F0502020204030204"/>
                <a:ea typeface="+mn-ea"/>
                <a:cs typeface="+mn-cs"/>
              </a:rPr>
              <a:t>- Pres Cyril Ramaphosa, BRICS Summit 2018</a:t>
            </a:r>
            <a:endParaRPr kumimoji="0" lang="en-US" sz="1961" b="0" i="1"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p:cNvGrpSpPr/>
          <p:nvPr/>
        </p:nvGrpSpPr>
        <p:grpSpPr>
          <a:xfrm>
            <a:off x="4850495" y="3977334"/>
            <a:ext cx="2491011" cy="1897826"/>
            <a:chOff x="5103501" y="3293188"/>
            <a:chExt cx="2541321" cy="2551395"/>
          </a:xfrm>
        </p:grpSpPr>
        <p:grpSp>
          <p:nvGrpSpPr>
            <p:cNvPr id="13" name="Group 12"/>
            <p:cNvGrpSpPr/>
            <p:nvPr/>
          </p:nvGrpSpPr>
          <p:grpSpPr>
            <a:xfrm>
              <a:off x="5103501" y="3293188"/>
              <a:ext cx="2541321" cy="2551395"/>
              <a:chOff x="6891309" y="1382729"/>
              <a:chExt cx="4875203" cy="4894528"/>
            </a:xfrm>
          </p:grpSpPr>
          <p:sp>
            <p:nvSpPr>
              <p:cNvPr id="14" name="Oval 13"/>
              <p:cNvSpPr/>
              <p:nvPr/>
            </p:nvSpPr>
            <p:spPr bwMode="auto">
              <a:xfrm>
                <a:off x="6891309" y="4632884"/>
                <a:ext cx="1102650" cy="1102650"/>
              </a:xfrm>
              <a:prstGeom prst="ellipse">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44546A"/>
                  </a:solidFill>
                  <a:effectLst/>
                  <a:uLnTx/>
                  <a:uFillTx/>
                  <a:latin typeface="Calibri" panose="020F0502020204030204"/>
                  <a:ea typeface="Segoe UI" pitchFamily="34" charset="0"/>
                  <a:cs typeface="Segoe UI" pitchFamily="34" charset="0"/>
                </a:endParaRPr>
              </a:p>
            </p:txBody>
          </p:sp>
          <p:sp>
            <p:nvSpPr>
              <p:cNvPr id="15" name="Oval 14"/>
              <p:cNvSpPr/>
              <p:nvPr/>
            </p:nvSpPr>
            <p:spPr bwMode="auto">
              <a:xfrm>
                <a:off x="8775736" y="1382729"/>
                <a:ext cx="1102650" cy="1102650"/>
              </a:xfrm>
              <a:prstGeom prst="ellipse">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44546A"/>
                  </a:solidFill>
                  <a:effectLst/>
                  <a:uLnTx/>
                  <a:uFillTx/>
                  <a:latin typeface="Calibri" panose="020F0502020204030204"/>
                  <a:ea typeface="Segoe UI" pitchFamily="34" charset="0"/>
                  <a:cs typeface="Segoe UI" pitchFamily="34" charset="0"/>
                </a:endParaRPr>
              </a:p>
            </p:txBody>
          </p:sp>
          <p:sp>
            <p:nvSpPr>
              <p:cNvPr id="16" name="Oval 15"/>
              <p:cNvSpPr/>
              <p:nvPr/>
            </p:nvSpPr>
            <p:spPr bwMode="auto">
              <a:xfrm>
                <a:off x="10663862" y="4618670"/>
                <a:ext cx="1102650" cy="1102650"/>
              </a:xfrm>
              <a:prstGeom prst="ellipse">
                <a:avLst/>
              </a:prstGeom>
              <a:solidFill>
                <a:schemeClr val="bg1">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44546A"/>
                  </a:solidFill>
                  <a:effectLst/>
                  <a:uLnTx/>
                  <a:uFillTx/>
                  <a:latin typeface="Calibri" panose="020F0502020204030204"/>
                  <a:ea typeface="Segoe UI" pitchFamily="34" charset="0"/>
                  <a:cs typeface="Segoe UI" pitchFamily="34" charset="0"/>
                </a:endParaRPr>
              </a:p>
            </p:txBody>
          </p:sp>
          <p:grpSp>
            <p:nvGrpSpPr>
              <p:cNvPr id="17" name="Group 16"/>
              <p:cNvGrpSpPr/>
              <p:nvPr/>
            </p:nvGrpSpPr>
            <p:grpSpPr>
              <a:xfrm>
                <a:off x="7015701" y="1506850"/>
                <a:ext cx="4616817" cy="4770407"/>
                <a:chOff x="1060487" y="1629059"/>
                <a:chExt cx="4229050" cy="4369740"/>
              </a:xfrm>
            </p:grpSpPr>
            <p:sp>
              <p:nvSpPr>
                <p:cNvPr id="18" name="Blue start"/>
                <p:cNvSpPr/>
                <p:nvPr/>
              </p:nvSpPr>
              <p:spPr bwMode="auto">
                <a:xfrm>
                  <a:off x="1178372" y="2012953"/>
                  <a:ext cx="3985845" cy="3985846"/>
                </a:xfrm>
                <a:prstGeom prst="ellipse">
                  <a:avLst/>
                </a:prstGeom>
                <a:solidFill>
                  <a:schemeClr val="tx2">
                    <a:alpha val="68000"/>
                  </a:schemeClr>
                </a:solidFill>
                <a:ln w="28575" cap="flat" cmpd="sng" algn="ctr">
                  <a:solidFill>
                    <a:schemeClr val="bg1"/>
                  </a:solidFill>
                  <a:prstDash val="solid"/>
                  <a:headEnd type="none" w="med" len="med"/>
                  <a:tailEnd type="none" w="med" len="med"/>
                </a:ln>
                <a:effectLst/>
              </p:spPr>
              <p:txBody>
                <a:bodyPr rot="0" spcFirstLastPara="0" vertOverflow="overflow" horzOverflow="overflow" vert="horz" wrap="square" lIns="179237" tIns="143389" rIns="179237" bIns="143389" numCol="1" spcCol="0" rtlCol="0" fromWordArt="0" anchor="t" anchorCtr="0" forceAA="0" compatLnSpc="1">
                  <a:prstTxWarp prst="textNoShape">
                    <a:avLst/>
                  </a:prstTxWarp>
                  <a:noAutofit/>
                </a:bodyPr>
                <a:lstStyle/>
                <a:p>
                  <a:pPr marL="0" marR="0" lvl="0" indent="0" algn="ctr" defTabSz="913836" rtl="0"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p:cNvGrpSpPr/>
                <p:nvPr/>
              </p:nvGrpSpPr>
              <p:grpSpPr>
                <a:xfrm>
                  <a:off x="2782955" y="1629059"/>
                  <a:ext cx="787899" cy="787899"/>
                  <a:chOff x="4169643" y="4455967"/>
                  <a:chExt cx="773506" cy="773506"/>
                </a:xfrm>
              </p:grpSpPr>
              <p:sp>
                <p:nvSpPr>
                  <p:cNvPr id="36" name="Oval 35"/>
                  <p:cNvSpPr/>
                  <p:nvPr/>
                </p:nvSpPr>
                <p:spPr bwMode="auto">
                  <a:xfrm>
                    <a:off x="4169643" y="4455967"/>
                    <a:ext cx="773506" cy="773506"/>
                  </a:xfrm>
                  <a:prstGeom prst="ellipse">
                    <a:avLst/>
                  </a:prstGeom>
                  <a:solidFill>
                    <a:schemeClr val="bg1"/>
                  </a:solidFill>
                  <a:ln w="12700" cap="flat" cmpd="sng" algn="ctr">
                    <a:noFill/>
                    <a:prstDash val="solid"/>
                    <a:miter lim="800000"/>
                  </a:ln>
                  <a:effectLst/>
                </p:spPr>
                <p:txBody>
                  <a:bodyPr rot="0" spcFirstLastPara="0" vertOverflow="overflow" horzOverflow="overflow" vert="horz" wrap="square" lIns="215045" tIns="172036" rIns="215045" bIns="172036" numCol="1" spcCol="0" rtlCol="0" fromWordArt="0" anchor="t" anchorCtr="0" forceAA="0" compatLnSpc="1">
                    <a:prstTxWarp prst="textNoShape">
                      <a:avLst/>
                    </a:prstTxWarp>
                    <a:noAutofit/>
                  </a:bodyPr>
                  <a:lstStyle/>
                  <a:p>
                    <a:pPr marL="0" marR="0" lvl="0" indent="0" algn="ctr" defTabSz="109639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37" name="Group 36"/>
                  <p:cNvGrpSpPr/>
                  <p:nvPr/>
                </p:nvGrpSpPr>
                <p:grpSpPr>
                  <a:xfrm>
                    <a:off x="4365903" y="4653670"/>
                    <a:ext cx="380987" cy="386701"/>
                    <a:chOff x="4665663" y="4765675"/>
                    <a:chExt cx="317501" cy="322263"/>
                  </a:xfrm>
                  <a:solidFill>
                    <a:srgbClr val="000000"/>
                  </a:solidFill>
                </p:grpSpPr>
                <p:sp>
                  <p:nvSpPr>
                    <p:cNvPr id="38" name="Freeform 5"/>
                    <p:cNvSpPr>
                      <a:spLocks noEditPoints="1"/>
                    </p:cNvSpPr>
                    <p:nvPr/>
                  </p:nvSpPr>
                  <p:spPr bwMode="auto">
                    <a:xfrm>
                      <a:off x="4764088" y="4826000"/>
                      <a:ext cx="120650" cy="120650"/>
                    </a:xfrm>
                    <a:custGeom>
                      <a:avLst/>
                      <a:gdLst>
                        <a:gd name="T0" fmla="*/ 23 w 46"/>
                        <a:gd name="T1" fmla="*/ 46 h 46"/>
                        <a:gd name="T2" fmla="*/ 0 w 46"/>
                        <a:gd name="T3" fmla="*/ 23 h 46"/>
                        <a:gd name="T4" fmla="*/ 23 w 46"/>
                        <a:gd name="T5" fmla="*/ 0 h 46"/>
                        <a:gd name="T6" fmla="*/ 46 w 46"/>
                        <a:gd name="T7" fmla="*/ 23 h 46"/>
                        <a:gd name="T8" fmla="*/ 23 w 46"/>
                        <a:gd name="T9" fmla="*/ 46 h 46"/>
                        <a:gd name="T10" fmla="*/ 23 w 46"/>
                        <a:gd name="T11" fmla="*/ 6 h 46"/>
                        <a:gd name="T12" fmla="*/ 6 w 46"/>
                        <a:gd name="T13" fmla="*/ 23 h 46"/>
                        <a:gd name="T14" fmla="*/ 23 w 46"/>
                        <a:gd name="T15" fmla="*/ 40 h 46"/>
                        <a:gd name="T16" fmla="*/ 40 w 46"/>
                        <a:gd name="T17" fmla="*/ 23 h 46"/>
                        <a:gd name="T18" fmla="*/ 23 w 46"/>
                        <a:gd name="T19"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10" y="46"/>
                            <a:pt x="0" y="36"/>
                            <a:pt x="0" y="23"/>
                          </a:cubicBezTo>
                          <a:cubicBezTo>
                            <a:pt x="0" y="10"/>
                            <a:pt x="10" y="0"/>
                            <a:pt x="23" y="0"/>
                          </a:cubicBezTo>
                          <a:cubicBezTo>
                            <a:pt x="36" y="0"/>
                            <a:pt x="46" y="10"/>
                            <a:pt x="46" y="23"/>
                          </a:cubicBezTo>
                          <a:cubicBezTo>
                            <a:pt x="46" y="36"/>
                            <a:pt x="36" y="46"/>
                            <a:pt x="23" y="46"/>
                          </a:cubicBezTo>
                          <a:close/>
                          <a:moveTo>
                            <a:pt x="23" y="6"/>
                          </a:moveTo>
                          <a:cubicBezTo>
                            <a:pt x="14" y="6"/>
                            <a:pt x="6" y="13"/>
                            <a:pt x="6" y="23"/>
                          </a:cubicBezTo>
                          <a:cubicBezTo>
                            <a:pt x="6" y="32"/>
                            <a:pt x="14" y="40"/>
                            <a:pt x="23" y="40"/>
                          </a:cubicBezTo>
                          <a:cubicBezTo>
                            <a:pt x="32" y="40"/>
                            <a:pt x="40" y="32"/>
                            <a:pt x="40" y="23"/>
                          </a:cubicBezTo>
                          <a:cubicBezTo>
                            <a:pt x="40" y="13"/>
                            <a:pt x="32" y="6"/>
                            <a:pt x="23" y="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9" name="Freeform 6"/>
                    <p:cNvSpPr>
                      <a:spLocks/>
                    </p:cNvSpPr>
                    <p:nvPr/>
                  </p:nvSpPr>
                  <p:spPr bwMode="auto">
                    <a:xfrm>
                      <a:off x="4735513" y="4930775"/>
                      <a:ext cx="177800" cy="88900"/>
                    </a:xfrm>
                    <a:custGeom>
                      <a:avLst/>
                      <a:gdLst>
                        <a:gd name="T0" fmla="*/ 68 w 68"/>
                        <a:gd name="T1" fmla="*/ 34 h 34"/>
                        <a:gd name="T2" fmla="*/ 62 w 68"/>
                        <a:gd name="T3" fmla="*/ 34 h 34"/>
                        <a:gd name="T4" fmla="*/ 34 w 68"/>
                        <a:gd name="T5" fmla="*/ 6 h 34"/>
                        <a:gd name="T6" fmla="*/ 6 w 68"/>
                        <a:gd name="T7" fmla="*/ 34 h 34"/>
                        <a:gd name="T8" fmla="*/ 0 w 68"/>
                        <a:gd name="T9" fmla="*/ 34 h 34"/>
                        <a:gd name="T10" fmla="*/ 34 w 68"/>
                        <a:gd name="T11" fmla="*/ 0 h 34"/>
                        <a:gd name="T12" fmla="*/ 68 w 6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68" h="34">
                          <a:moveTo>
                            <a:pt x="68" y="34"/>
                          </a:moveTo>
                          <a:cubicBezTo>
                            <a:pt x="62" y="34"/>
                            <a:pt x="62" y="34"/>
                            <a:pt x="62" y="34"/>
                          </a:cubicBezTo>
                          <a:cubicBezTo>
                            <a:pt x="62" y="19"/>
                            <a:pt x="49" y="6"/>
                            <a:pt x="34" y="6"/>
                          </a:cubicBezTo>
                          <a:cubicBezTo>
                            <a:pt x="18" y="6"/>
                            <a:pt x="6" y="19"/>
                            <a:pt x="6" y="34"/>
                          </a:cubicBezTo>
                          <a:cubicBezTo>
                            <a:pt x="0" y="34"/>
                            <a:pt x="0" y="34"/>
                            <a:pt x="0" y="34"/>
                          </a:cubicBezTo>
                          <a:cubicBezTo>
                            <a:pt x="0" y="15"/>
                            <a:pt x="15" y="0"/>
                            <a:pt x="34" y="0"/>
                          </a:cubicBezTo>
                          <a:cubicBezTo>
                            <a:pt x="53" y="0"/>
                            <a:pt x="68" y="15"/>
                            <a:pt x="68" y="3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0" name="Freeform 7"/>
                    <p:cNvSpPr>
                      <a:spLocks/>
                    </p:cNvSpPr>
                    <p:nvPr/>
                  </p:nvSpPr>
                  <p:spPr bwMode="auto">
                    <a:xfrm>
                      <a:off x="4902201" y="4765675"/>
                      <a:ext cx="80963" cy="80963"/>
                    </a:xfrm>
                    <a:custGeom>
                      <a:avLst/>
                      <a:gdLst>
                        <a:gd name="T0" fmla="*/ 51 w 51"/>
                        <a:gd name="T1" fmla="*/ 51 h 51"/>
                        <a:gd name="T2" fmla="*/ 41 w 51"/>
                        <a:gd name="T3" fmla="*/ 51 h 51"/>
                        <a:gd name="T4" fmla="*/ 41 w 51"/>
                        <a:gd name="T5" fmla="*/ 10 h 51"/>
                        <a:gd name="T6" fmla="*/ 0 w 51"/>
                        <a:gd name="T7" fmla="*/ 10 h 51"/>
                        <a:gd name="T8" fmla="*/ 0 w 51"/>
                        <a:gd name="T9" fmla="*/ 0 h 51"/>
                        <a:gd name="T10" fmla="*/ 51 w 51"/>
                        <a:gd name="T11" fmla="*/ 0 h 51"/>
                        <a:gd name="T12" fmla="*/ 51 w 5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51" y="51"/>
                          </a:moveTo>
                          <a:lnTo>
                            <a:pt x="41" y="51"/>
                          </a:lnTo>
                          <a:lnTo>
                            <a:pt x="41" y="10"/>
                          </a:lnTo>
                          <a:lnTo>
                            <a:pt x="0" y="10"/>
                          </a:lnTo>
                          <a:lnTo>
                            <a:pt x="0" y="0"/>
                          </a:lnTo>
                          <a:lnTo>
                            <a:pt x="51" y="0"/>
                          </a:lnTo>
                          <a:lnTo>
                            <a:pt x="51" y="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1" name="Freeform 8"/>
                    <p:cNvSpPr>
                      <a:spLocks/>
                    </p:cNvSpPr>
                    <p:nvPr/>
                  </p:nvSpPr>
                  <p:spPr bwMode="auto">
                    <a:xfrm>
                      <a:off x="4902201" y="5005388"/>
                      <a:ext cx="80963" cy="82550"/>
                    </a:xfrm>
                    <a:custGeom>
                      <a:avLst/>
                      <a:gdLst>
                        <a:gd name="T0" fmla="*/ 51 w 51"/>
                        <a:gd name="T1" fmla="*/ 52 h 52"/>
                        <a:gd name="T2" fmla="*/ 0 w 51"/>
                        <a:gd name="T3" fmla="*/ 52 h 52"/>
                        <a:gd name="T4" fmla="*/ 0 w 51"/>
                        <a:gd name="T5" fmla="*/ 42 h 52"/>
                        <a:gd name="T6" fmla="*/ 41 w 51"/>
                        <a:gd name="T7" fmla="*/ 42 h 52"/>
                        <a:gd name="T8" fmla="*/ 41 w 51"/>
                        <a:gd name="T9" fmla="*/ 0 h 52"/>
                        <a:gd name="T10" fmla="*/ 51 w 51"/>
                        <a:gd name="T11" fmla="*/ 0 h 52"/>
                        <a:gd name="T12" fmla="*/ 51 w 5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1" h="52">
                          <a:moveTo>
                            <a:pt x="51" y="52"/>
                          </a:moveTo>
                          <a:lnTo>
                            <a:pt x="0" y="52"/>
                          </a:lnTo>
                          <a:lnTo>
                            <a:pt x="0" y="42"/>
                          </a:lnTo>
                          <a:lnTo>
                            <a:pt x="41" y="42"/>
                          </a:lnTo>
                          <a:lnTo>
                            <a:pt x="41" y="0"/>
                          </a:lnTo>
                          <a:lnTo>
                            <a:pt x="51" y="0"/>
                          </a:lnTo>
                          <a:lnTo>
                            <a:pt x="51" y="5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2" name="Freeform 9"/>
                    <p:cNvSpPr>
                      <a:spLocks/>
                    </p:cNvSpPr>
                    <p:nvPr/>
                  </p:nvSpPr>
                  <p:spPr bwMode="auto">
                    <a:xfrm>
                      <a:off x="4665663" y="4765675"/>
                      <a:ext cx="80963" cy="80963"/>
                    </a:xfrm>
                    <a:custGeom>
                      <a:avLst/>
                      <a:gdLst>
                        <a:gd name="T0" fmla="*/ 10 w 51"/>
                        <a:gd name="T1" fmla="*/ 51 h 51"/>
                        <a:gd name="T2" fmla="*/ 0 w 51"/>
                        <a:gd name="T3" fmla="*/ 51 h 51"/>
                        <a:gd name="T4" fmla="*/ 0 w 51"/>
                        <a:gd name="T5" fmla="*/ 0 h 51"/>
                        <a:gd name="T6" fmla="*/ 51 w 51"/>
                        <a:gd name="T7" fmla="*/ 0 h 51"/>
                        <a:gd name="T8" fmla="*/ 51 w 51"/>
                        <a:gd name="T9" fmla="*/ 10 h 51"/>
                        <a:gd name="T10" fmla="*/ 10 w 51"/>
                        <a:gd name="T11" fmla="*/ 10 h 51"/>
                        <a:gd name="T12" fmla="*/ 10 w 51"/>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10" y="51"/>
                          </a:moveTo>
                          <a:lnTo>
                            <a:pt x="0" y="51"/>
                          </a:lnTo>
                          <a:lnTo>
                            <a:pt x="0" y="0"/>
                          </a:lnTo>
                          <a:lnTo>
                            <a:pt x="51" y="0"/>
                          </a:lnTo>
                          <a:lnTo>
                            <a:pt x="51" y="10"/>
                          </a:lnTo>
                          <a:lnTo>
                            <a:pt x="10" y="10"/>
                          </a:lnTo>
                          <a:lnTo>
                            <a:pt x="10" y="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3" name="Freeform 10"/>
                    <p:cNvSpPr>
                      <a:spLocks/>
                    </p:cNvSpPr>
                    <p:nvPr/>
                  </p:nvSpPr>
                  <p:spPr bwMode="auto">
                    <a:xfrm>
                      <a:off x="4665663" y="5005388"/>
                      <a:ext cx="80963" cy="82550"/>
                    </a:xfrm>
                    <a:custGeom>
                      <a:avLst/>
                      <a:gdLst>
                        <a:gd name="T0" fmla="*/ 51 w 51"/>
                        <a:gd name="T1" fmla="*/ 52 h 52"/>
                        <a:gd name="T2" fmla="*/ 0 w 51"/>
                        <a:gd name="T3" fmla="*/ 52 h 52"/>
                        <a:gd name="T4" fmla="*/ 0 w 51"/>
                        <a:gd name="T5" fmla="*/ 0 h 52"/>
                        <a:gd name="T6" fmla="*/ 10 w 51"/>
                        <a:gd name="T7" fmla="*/ 0 h 52"/>
                        <a:gd name="T8" fmla="*/ 10 w 51"/>
                        <a:gd name="T9" fmla="*/ 42 h 52"/>
                        <a:gd name="T10" fmla="*/ 51 w 51"/>
                        <a:gd name="T11" fmla="*/ 42 h 52"/>
                        <a:gd name="T12" fmla="*/ 51 w 5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51" h="52">
                          <a:moveTo>
                            <a:pt x="51" y="52"/>
                          </a:moveTo>
                          <a:lnTo>
                            <a:pt x="0" y="52"/>
                          </a:lnTo>
                          <a:lnTo>
                            <a:pt x="0" y="0"/>
                          </a:lnTo>
                          <a:lnTo>
                            <a:pt x="10" y="0"/>
                          </a:lnTo>
                          <a:lnTo>
                            <a:pt x="10" y="42"/>
                          </a:lnTo>
                          <a:lnTo>
                            <a:pt x="51" y="42"/>
                          </a:lnTo>
                          <a:lnTo>
                            <a:pt x="51" y="5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grpSp>
              <p:nvGrpSpPr>
                <p:cNvPr id="20" name="Group 19"/>
                <p:cNvGrpSpPr/>
                <p:nvPr/>
              </p:nvGrpSpPr>
              <p:grpSpPr>
                <a:xfrm>
                  <a:off x="4505422" y="4605499"/>
                  <a:ext cx="784115" cy="784115"/>
                  <a:chOff x="5868807" y="1519796"/>
                  <a:chExt cx="773506" cy="773506"/>
                </a:xfrm>
              </p:grpSpPr>
              <p:sp>
                <p:nvSpPr>
                  <p:cNvPr id="31" name="Oval 30"/>
                  <p:cNvSpPr/>
                  <p:nvPr/>
                </p:nvSpPr>
                <p:spPr bwMode="auto">
                  <a:xfrm>
                    <a:off x="5868807" y="1519796"/>
                    <a:ext cx="773506" cy="773506"/>
                  </a:xfrm>
                  <a:prstGeom prst="ellipse">
                    <a:avLst/>
                  </a:prstGeom>
                  <a:solidFill>
                    <a:schemeClr val="bg1"/>
                  </a:solidFill>
                  <a:ln w="12700" cap="flat" cmpd="sng" algn="ctr">
                    <a:noFill/>
                    <a:prstDash val="solid"/>
                    <a:miter lim="800000"/>
                  </a:ln>
                  <a:effectLst/>
                </p:spPr>
                <p:txBody>
                  <a:bodyPr rot="0" spcFirstLastPara="0" vertOverflow="overflow" horzOverflow="overflow" vert="horz" wrap="square" lIns="215045" tIns="172036" rIns="215045" bIns="172036" numCol="1" spcCol="0" rtlCol="0" fromWordArt="0" anchor="t" anchorCtr="0" forceAA="0" compatLnSpc="1">
                    <a:prstTxWarp prst="textNoShape">
                      <a:avLst/>
                    </a:prstTxWarp>
                    <a:noAutofit/>
                  </a:bodyPr>
                  <a:lstStyle/>
                  <a:p>
                    <a:pPr marL="0" marR="0" lvl="0" indent="0" algn="ctr" defTabSz="109639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32" name="Group 31"/>
                  <p:cNvGrpSpPr/>
                  <p:nvPr/>
                </p:nvGrpSpPr>
                <p:grpSpPr>
                  <a:xfrm>
                    <a:off x="6061379" y="1718176"/>
                    <a:ext cx="396225" cy="380986"/>
                    <a:chOff x="6076950" y="2319338"/>
                    <a:chExt cx="330200" cy="317500"/>
                  </a:xfrm>
                  <a:solidFill>
                    <a:srgbClr val="000000"/>
                  </a:solidFill>
                </p:grpSpPr>
                <p:sp>
                  <p:nvSpPr>
                    <p:cNvPr id="33" name="Freeform 32"/>
                    <p:cNvSpPr>
                      <a:spLocks/>
                    </p:cNvSpPr>
                    <p:nvPr/>
                  </p:nvSpPr>
                  <p:spPr bwMode="auto">
                    <a:xfrm>
                      <a:off x="6086475" y="2319338"/>
                      <a:ext cx="320675" cy="317500"/>
                    </a:xfrm>
                    <a:custGeom>
                      <a:avLst/>
                      <a:gdLst>
                        <a:gd name="T0" fmla="*/ 65 w 131"/>
                        <a:gd name="T1" fmla="*/ 131 h 131"/>
                        <a:gd name="T2" fmla="*/ 26 w 131"/>
                        <a:gd name="T3" fmla="*/ 118 h 131"/>
                        <a:gd name="T4" fmla="*/ 30 w 131"/>
                        <a:gd name="T5" fmla="*/ 113 h 131"/>
                        <a:gd name="T6" fmla="*/ 65 w 131"/>
                        <a:gd name="T7" fmla="*/ 125 h 131"/>
                        <a:gd name="T8" fmla="*/ 125 w 131"/>
                        <a:gd name="T9" fmla="*/ 65 h 131"/>
                        <a:gd name="T10" fmla="*/ 65 w 131"/>
                        <a:gd name="T11" fmla="*/ 6 h 131"/>
                        <a:gd name="T12" fmla="*/ 6 w 131"/>
                        <a:gd name="T13" fmla="*/ 65 h 131"/>
                        <a:gd name="T14" fmla="*/ 12 w 131"/>
                        <a:gd name="T15" fmla="*/ 91 h 131"/>
                        <a:gd name="T16" fmla="*/ 7 w 131"/>
                        <a:gd name="T17" fmla="*/ 94 h 131"/>
                        <a:gd name="T18" fmla="*/ 0 w 131"/>
                        <a:gd name="T19" fmla="*/ 65 h 131"/>
                        <a:gd name="T20" fmla="*/ 65 w 131"/>
                        <a:gd name="T21" fmla="*/ 0 h 131"/>
                        <a:gd name="T22" fmla="*/ 131 w 131"/>
                        <a:gd name="T23" fmla="*/ 65 h 131"/>
                        <a:gd name="T24" fmla="*/ 65 w 131"/>
                        <a:gd name="T2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 h="131">
                          <a:moveTo>
                            <a:pt x="65" y="131"/>
                          </a:moveTo>
                          <a:cubicBezTo>
                            <a:pt x="51" y="131"/>
                            <a:pt x="38" y="126"/>
                            <a:pt x="26" y="118"/>
                          </a:cubicBezTo>
                          <a:cubicBezTo>
                            <a:pt x="30" y="113"/>
                            <a:pt x="30" y="113"/>
                            <a:pt x="30" y="113"/>
                          </a:cubicBezTo>
                          <a:cubicBezTo>
                            <a:pt x="40" y="121"/>
                            <a:pt x="52" y="125"/>
                            <a:pt x="65" y="125"/>
                          </a:cubicBezTo>
                          <a:cubicBezTo>
                            <a:pt x="98" y="125"/>
                            <a:pt x="125" y="98"/>
                            <a:pt x="125" y="65"/>
                          </a:cubicBezTo>
                          <a:cubicBezTo>
                            <a:pt x="125" y="33"/>
                            <a:pt x="98" y="6"/>
                            <a:pt x="65" y="6"/>
                          </a:cubicBezTo>
                          <a:cubicBezTo>
                            <a:pt x="33" y="6"/>
                            <a:pt x="6" y="33"/>
                            <a:pt x="6" y="65"/>
                          </a:cubicBezTo>
                          <a:cubicBezTo>
                            <a:pt x="6" y="74"/>
                            <a:pt x="8" y="83"/>
                            <a:pt x="12" y="91"/>
                          </a:cubicBezTo>
                          <a:cubicBezTo>
                            <a:pt x="7" y="94"/>
                            <a:pt x="7" y="94"/>
                            <a:pt x="7" y="94"/>
                          </a:cubicBezTo>
                          <a:cubicBezTo>
                            <a:pt x="2" y="85"/>
                            <a:pt x="0" y="75"/>
                            <a:pt x="0" y="65"/>
                          </a:cubicBezTo>
                          <a:cubicBezTo>
                            <a:pt x="0" y="30"/>
                            <a:pt x="29" y="0"/>
                            <a:pt x="65" y="0"/>
                          </a:cubicBezTo>
                          <a:cubicBezTo>
                            <a:pt x="101" y="0"/>
                            <a:pt x="131" y="30"/>
                            <a:pt x="131" y="65"/>
                          </a:cubicBezTo>
                          <a:cubicBezTo>
                            <a:pt x="131" y="101"/>
                            <a:pt x="101" y="131"/>
                            <a:pt x="65" y="13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4" name="Freeform 33"/>
                    <p:cNvSpPr>
                      <a:spLocks/>
                    </p:cNvSpPr>
                    <p:nvPr/>
                  </p:nvSpPr>
                  <p:spPr bwMode="auto">
                    <a:xfrm>
                      <a:off x="6235700" y="2357438"/>
                      <a:ext cx="92075" cy="193675"/>
                    </a:xfrm>
                    <a:custGeom>
                      <a:avLst/>
                      <a:gdLst>
                        <a:gd name="T0" fmla="*/ 52 w 58"/>
                        <a:gd name="T1" fmla="*/ 122 h 122"/>
                        <a:gd name="T2" fmla="*/ 0 w 58"/>
                        <a:gd name="T3" fmla="*/ 80 h 122"/>
                        <a:gd name="T4" fmla="*/ 0 w 58"/>
                        <a:gd name="T5" fmla="*/ 0 h 122"/>
                        <a:gd name="T6" fmla="*/ 9 w 58"/>
                        <a:gd name="T7" fmla="*/ 0 h 122"/>
                        <a:gd name="T8" fmla="*/ 9 w 58"/>
                        <a:gd name="T9" fmla="*/ 75 h 122"/>
                        <a:gd name="T10" fmla="*/ 58 w 58"/>
                        <a:gd name="T11" fmla="*/ 115 h 122"/>
                        <a:gd name="T12" fmla="*/ 52 w 58"/>
                        <a:gd name="T13" fmla="*/ 122 h 122"/>
                      </a:gdLst>
                      <a:ahLst/>
                      <a:cxnLst>
                        <a:cxn ang="0">
                          <a:pos x="T0" y="T1"/>
                        </a:cxn>
                        <a:cxn ang="0">
                          <a:pos x="T2" y="T3"/>
                        </a:cxn>
                        <a:cxn ang="0">
                          <a:pos x="T4" y="T5"/>
                        </a:cxn>
                        <a:cxn ang="0">
                          <a:pos x="T6" y="T7"/>
                        </a:cxn>
                        <a:cxn ang="0">
                          <a:pos x="T8" y="T9"/>
                        </a:cxn>
                        <a:cxn ang="0">
                          <a:pos x="T10" y="T11"/>
                        </a:cxn>
                        <a:cxn ang="0">
                          <a:pos x="T12" y="T13"/>
                        </a:cxn>
                      </a:cxnLst>
                      <a:rect l="0" t="0" r="r" b="b"/>
                      <a:pathLst>
                        <a:path w="58" h="122">
                          <a:moveTo>
                            <a:pt x="52" y="122"/>
                          </a:moveTo>
                          <a:lnTo>
                            <a:pt x="0" y="80"/>
                          </a:lnTo>
                          <a:lnTo>
                            <a:pt x="0" y="0"/>
                          </a:lnTo>
                          <a:lnTo>
                            <a:pt x="9" y="0"/>
                          </a:lnTo>
                          <a:lnTo>
                            <a:pt x="9" y="75"/>
                          </a:lnTo>
                          <a:lnTo>
                            <a:pt x="58" y="115"/>
                          </a:lnTo>
                          <a:lnTo>
                            <a:pt x="52" y="12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35" name="Freeform 34"/>
                    <p:cNvSpPr>
                      <a:spLocks/>
                    </p:cNvSpPr>
                    <p:nvPr/>
                  </p:nvSpPr>
                  <p:spPr bwMode="auto">
                    <a:xfrm>
                      <a:off x="6076950" y="2509838"/>
                      <a:ext cx="52388" cy="47625"/>
                    </a:xfrm>
                    <a:custGeom>
                      <a:avLst/>
                      <a:gdLst>
                        <a:gd name="T0" fmla="*/ 27 w 33"/>
                        <a:gd name="T1" fmla="*/ 30 h 30"/>
                        <a:gd name="T2" fmla="*/ 0 w 33"/>
                        <a:gd name="T3" fmla="*/ 23 h 30"/>
                        <a:gd name="T4" fmla="*/ 1 w 33"/>
                        <a:gd name="T5" fmla="*/ 16 h 30"/>
                        <a:gd name="T6" fmla="*/ 20 w 33"/>
                        <a:gd name="T7" fmla="*/ 19 h 30"/>
                        <a:gd name="T8" fmla="*/ 26 w 33"/>
                        <a:gd name="T9" fmla="*/ 0 h 30"/>
                        <a:gd name="T10" fmla="*/ 33 w 33"/>
                        <a:gd name="T11" fmla="*/ 4 h 30"/>
                        <a:gd name="T12" fmla="*/ 27 w 33"/>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3" h="30">
                          <a:moveTo>
                            <a:pt x="27" y="30"/>
                          </a:moveTo>
                          <a:lnTo>
                            <a:pt x="0" y="23"/>
                          </a:lnTo>
                          <a:lnTo>
                            <a:pt x="1" y="16"/>
                          </a:lnTo>
                          <a:lnTo>
                            <a:pt x="20" y="19"/>
                          </a:lnTo>
                          <a:lnTo>
                            <a:pt x="26" y="0"/>
                          </a:lnTo>
                          <a:lnTo>
                            <a:pt x="33" y="4"/>
                          </a:lnTo>
                          <a:lnTo>
                            <a:pt x="27" y="3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grpSp>
              <p:nvGrpSpPr>
                <p:cNvPr id="21" name="Group 20"/>
                <p:cNvGrpSpPr/>
                <p:nvPr/>
              </p:nvGrpSpPr>
              <p:grpSpPr>
                <a:xfrm>
                  <a:off x="1060487" y="4605499"/>
                  <a:ext cx="784115" cy="784115"/>
                  <a:chOff x="7567971" y="4455967"/>
                  <a:chExt cx="773506" cy="773506"/>
                </a:xfrm>
              </p:grpSpPr>
              <p:sp>
                <p:nvSpPr>
                  <p:cNvPr id="22" name="Oval 21"/>
                  <p:cNvSpPr/>
                  <p:nvPr/>
                </p:nvSpPr>
                <p:spPr bwMode="auto">
                  <a:xfrm>
                    <a:off x="7567971" y="4455967"/>
                    <a:ext cx="773506" cy="773506"/>
                  </a:xfrm>
                  <a:prstGeom prst="ellipse">
                    <a:avLst/>
                  </a:prstGeom>
                  <a:solidFill>
                    <a:schemeClr val="bg1"/>
                  </a:solidFill>
                  <a:ln w="12700" cap="flat" cmpd="sng" algn="ctr">
                    <a:noFill/>
                    <a:prstDash val="solid"/>
                    <a:miter lim="800000"/>
                  </a:ln>
                  <a:effectLst/>
                </p:spPr>
                <p:txBody>
                  <a:bodyPr rot="0" spcFirstLastPara="0" vertOverflow="overflow" horzOverflow="overflow" vert="horz" wrap="square" lIns="215045" tIns="172036" rIns="215045" bIns="172036" numCol="1" spcCol="0" rtlCol="0" fromWordArt="0" anchor="t" anchorCtr="0" forceAA="0" compatLnSpc="1">
                    <a:prstTxWarp prst="textNoShape">
                      <a:avLst/>
                    </a:prstTxWarp>
                    <a:noAutofit/>
                  </a:bodyPr>
                  <a:lstStyle/>
                  <a:p>
                    <a:pPr marL="0" marR="0" lvl="0" indent="0" algn="ctr" defTabSz="1096392" rtl="0" eaLnBrk="1" fontAlgn="base" latinLnBrk="0" hangingPunct="1">
                      <a:lnSpc>
                        <a:spcPct val="90000"/>
                      </a:lnSpc>
                      <a:spcBef>
                        <a:spcPct val="0"/>
                      </a:spcBef>
                      <a:spcAft>
                        <a:spcPct val="0"/>
                      </a:spcAft>
                      <a:buClrTx/>
                      <a:buSzTx/>
                      <a:buFontTx/>
                      <a:buNone/>
                      <a:tabLst/>
                      <a:defRPr/>
                    </a:pPr>
                    <a:endParaRPr kumimoji="0" lang="en-US" sz="2745" b="0" i="0" u="none" strike="noStrike" kern="0" cap="none" spc="0" normalizeH="0" baseline="0" noProof="0" dirty="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23" name="Group 22"/>
                  <p:cNvGrpSpPr/>
                  <p:nvPr/>
                </p:nvGrpSpPr>
                <p:grpSpPr>
                  <a:xfrm>
                    <a:off x="7670890" y="4678435"/>
                    <a:ext cx="567669" cy="329552"/>
                    <a:chOff x="7419975" y="4786313"/>
                    <a:chExt cx="473075" cy="274637"/>
                  </a:xfrm>
                  <a:solidFill>
                    <a:srgbClr val="000000"/>
                  </a:solidFill>
                </p:grpSpPr>
                <p:sp>
                  <p:nvSpPr>
                    <p:cNvPr id="24" name="Freeform 14"/>
                    <p:cNvSpPr>
                      <a:spLocks/>
                    </p:cNvSpPr>
                    <p:nvPr/>
                  </p:nvSpPr>
                  <p:spPr bwMode="auto">
                    <a:xfrm>
                      <a:off x="7419975" y="4786313"/>
                      <a:ext cx="473075" cy="252412"/>
                    </a:xfrm>
                    <a:custGeom>
                      <a:avLst/>
                      <a:gdLst>
                        <a:gd name="T0" fmla="*/ 154 w 193"/>
                        <a:gd name="T1" fmla="*/ 103 h 103"/>
                        <a:gd name="T2" fmla="*/ 114 w 193"/>
                        <a:gd name="T3" fmla="*/ 103 h 103"/>
                        <a:gd name="T4" fmla="*/ 114 w 193"/>
                        <a:gd name="T5" fmla="*/ 97 h 103"/>
                        <a:gd name="T6" fmla="*/ 154 w 193"/>
                        <a:gd name="T7" fmla="*/ 97 h 103"/>
                        <a:gd name="T8" fmla="*/ 187 w 193"/>
                        <a:gd name="T9" fmla="*/ 64 h 103"/>
                        <a:gd name="T10" fmla="*/ 154 w 193"/>
                        <a:gd name="T11" fmla="*/ 31 h 103"/>
                        <a:gd name="T12" fmla="*/ 131 w 193"/>
                        <a:gd name="T13" fmla="*/ 41 h 103"/>
                        <a:gd name="T14" fmla="*/ 127 w 193"/>
                        <a:gd name="T15" fmla="*/ 45 h 103"/>
                        <a:gd name="T16" fmla="*/ 124 w 193"/>
                        <a:gd name="T17" fmla="*/ 33 h 103"/>
                        <a:gd name="T18" fmla="*/ 82 w 193"/>
                        <a:gd name="T19" fmla="*/ 6 h 103"/>
                        <a:gd name="T20" fmla="*/ 37 w 193"/>
                        <a:gd name="T21" fmla="*/ 42 h 103"/>
                        <a:gd name="T22" fmla="*/ 36 w 193"/>
                        <a:gd name="T23" fmla="*/ 51 h 103"/>
                        <a:gd name="T24" fmla="*/ 29 w 193"/>
                        <a:gd name="T25" fmla="*/ 50 h 103"/>
                        <a:gd name="T26" fmla="*/ 6 w 193"/>
                        <a:gd name="T27" fmla="*/ 73 h 103"/>
                        <a:gd name="T28" fmla="*/ 24 w 193"/>
                        <a:gd name="T29" fmla="*/ 96 h 103"/>
                        <a:gd name="T30" fmla="*/ 29 w 193"/>
                        <a:gd name="T31" fmla="*/ 97 h 103"/>
                        <a:gd name="T32" fmla="*/ 78 w 193"/>
                        <a:gd name="T33" fmla="*/ 97 h 103"/>
                        <a:gd name="T34" fmla="*/ 78 w 193"/>
                        <a:gd name="T35" fmla="*/ 103 h 103"/>
                        <a:gd name="T36" fmla="*/ 28 w 193"/>
                        <a:gd name="T37" fmla="*/ 102 h 103"/>
                        <a:gd name="T38" fmla="*/ 23 w 193"/>
                        <a:gd name="T39" fmla="*/ 102 h 103"/>
                        <a:gd name="T40" fmla="*/ 0 w 193"/>
                        <a:gd name="T41" fmla="*/ 73 h 103"/>
                        <a:gd name="T42" fmla="*/ 29 w 193"/>
                        <a:gd name="T43" fmla="*/ 44 h 103"/>
                        <a:gd name="T44" fmla="*/ 31 w 193"/>
                        <a:gd name="T45" fmla="*/ 44 h 103"/>
                        <a:gd name="T46" fmla="*/ 31 w 193"/>
                        <a:gd name="T47" fmla="*/ 41 h 103"/>
                        <a:gd name="T48" fmla="*/ 82 w 193"/>
                        <a:gd name="T49" fmla="*/ 0 h 103"/>
                        <a:gd name="T50" fmla="*/ 129 w 193"/>
                        <a:gd name="T51" fmla="*/ 31 h 103"/>
                        <a:gd name="T52" fmla="*/ 130 w 193"/>
                        <a:gd name="T53" fmla="*/ 34 h 103"/>
                        <a:gd name="T54" fmla="*/ 154 w 193"/>
                        <a:gd name="T55" fmla="*/ 25 h 103"/>
                        <a:gd name="T56" fmla="*/ 193 w 193"/>
                        <a:gd name="T57" fmla="*/ 64 h 103"/>
                        <a:gd name="T58" fmla="*/ 154 w 193"/>
                        <a:gd name="T59"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3" h="103">
                          <a:moveTo>
                            <a:pt x="154" y="103"/>
                          </a:moveTo>
                          <a:cubicBezTo>
                            <a:pt x="114" y="103"/>
                            <a:pt x="114" y="103"/>
                            <a:pt x="114" y="103"/>
                          </a:cubicBezTo>
                          <a:cubicBezTo>
                            <a:pt x="114" y="97"/>
                            <a:pt x="114" y="97"/>
                            <a:pt x="114" y="97"/>
                          </a:cubicBezTo>
                          <a:cubicBezTo>
                            <a:pt x="154" y="97"/>
                            <a:pt x="154" y="97"/>
                            <a:pt x="154" y="97"/>
                          </a:cubicBezTo>
                          <a:cubicBezTo>
                            <a:pt x="173" y="97"/>
                            <a:pt x="187" y="82"/>
                            <a:pt x="187" y="64"/>
                          </a:cubicBezTo>
                          <a:cubicBezTo>
                            <a:pt x="187" y="46"/>
                            <a:pt x="173" y="31"/>
                            <a:pt x="154" y="31"/>
                          </a:cubicBezTo>
                          <a:cubicBezTo>
                            <a:pt x="146" y="31"/>
                            <a:pt x="137" y="34"/>
                            <a:pt x="131" y="41"/>
                          </a:cubicBezTo>
                          <a:cubicBezTo>
                            <a:pt x="127" y="45"/>
                            <a:pt x="127" y="45"/>
                            <a:pt x="127" y="45"/>
                          </a:cubicBezTo>
                          <a:cubicBezTo>
                            <a:pt x="124" y="33"/>
                            <a:pt x="124" y="33"/>
                            <a:pt x="124" y="33"/>
                          </a:cubicBezTo>
                          <a:cubicBezTo>
                            <a:pt x="117" y="16"/>
                            <a:pt x="100" y="6"/>
                            <a:pt x="82" y="6"/>
                          </a:cubicBezTo>
                          <a:cubicBezTo>
                            <a:pt x="60" y="6"/>
                            <a:pt x="42" y="21"/>
                            <a:pt x="37" y="42"/>
                          </a:cubicBezTo>
                          <a:cubicBezTo>
                            <a:pt x="36" y="51"/>
                            <a:pt x="36" y="51"/>
                            <a:pt x="36" y="51"/>
                          </a:cubicBezTo>
                          <a:cubicBezTo>
                            <a:pt x="29" y="50"/>
                            <a:pt x="29" y="50"/>
                            <a:pt x="29" y="50"/>
                          </a:cubicBezTo>
                          <a:cubicBezTo>
                            <a:pt x="16" y="50"/>
                            <a:pt x="6" y="61"/>
                            <a:pt x="6" y="73"/>
                          </a:cubicBezTo>
                          <a:cubicBezTo>
                            <a:pt x="6" y="84"/>
                            <a:pt x="13" y="94"/>
                            <a:pt x="24" y="96"/>
                          </a:cubicBezTo>
                          <a:cubicBezTo>
                            <a:pt x="29" y="97"/>
                            <a:pt x="29" y="97"/>
                            <a:pt x="29" y="97"/>
                          </a:cubicBezTo>
                          <a:cubicBezTo>
                            <a:pt x="78" y="97"/>
                            <a:pt x="78" y="97"/>
                            <a:pt x="78" y="97"/>
                          </a:cubicBezTo>
                          <a:cubicBezTo>
                            <a:pt x="78" y="103"/>
                            <a:pt x="78" y="103"/>
                            <a:pt x="78" y="103"/>
                          </a:cubicBezTo>
                          <a:cubicBezTo>
                            <a:pt x="28" y="102"/>
                            <a:pt x="28" y="102"/>
                            <a:pt x="28" y="102"/>
                          </a:cubicBezTo>
                          <a:cubicBezTo>
                            <a:pt x="23" y="102"/>
                            <a:pt x="23" y="102"/>
                            <a:pt x="23" y="102"/>
                          </a:cubicBezTo>
                          <a:cubicBezTo>
                            <a:pt x="9" y="99"/>
                            <a:pt x="0" y="87"/>
                            <a:pt x="0" y="73"/>
                          </a:cubicBezTo>
                          <a:cubicBezTo>
                            <a:pt x="0" y="57"/>
                            <a:pt x="13" y="44"/>
                            <a:pt x="29" y="44"/>
                          </a:cubicBezTo>
                          <a:cubicBezTo>
                            <a:pt x="31" y="44"/>
                            <a:pt x="31" y="44"/>
                            <a:pt x="31" y="44"/>
                          </a:cubicBezTo>
                          <a:cubicBezTo>
                            <a:pt x="31" y="41"/>
                            <a:pt x="31" y="41"/>
                            <a:pt x="31" y="41"/>
                          </a:cubicBezTo>
                          <a:cubicBezTo>
                            <a:pt x="36" y="17"/>
                            <a:pt x="57" y="0"/>
                            <a:pt x="82" y="0"/>
                          </a:cubicBezTo>
                          <a:cubicBezTo>
                            <a:pt x="103" y="0"/>
                            <a:pt x="121" y="12"/>
                            <a:pt x="129" y="31"/>
                          </a:cubicBezTo>
                          <a:cubicBezTo>
                            <a:pt x="130" y="34"/>
                            <a:pt x="130" y="34"/>
                            <a:pt x="130" y="34"/>
                          </a:cubicBezTo>
                          <a:cubicBezTo>
                            <a:pt x="137" y="28"/>
                            <a:pt x="146" y="25"/>
                            <a:pt x="154" y="25"/>
                          </a:cubicBezTo>
                          <a:cubicBezTo>
                            <a:pt x="176" y="25"/>
                            <a:pt x="193" y="42"/>
                            <a:pt x="193" y="64"/>
                          </a:cubicBezTo>
                          <a:cubicBezTo>
                            <a:pt x="193" y="85"/>
                            <a:pt x="176" y="103"/>
                            <a:pt x="154" y="10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5" name="Freeform 15"/>
                    <p:cNvSpPr>
                      <a:spLocks/>
                    </p:cNvSpPr>
                    <p:nvPr/>
                  </p:nvSpPr>
                  <p:spPr bwMode="auto">
                    <a:xfrm>
                      <a:off x="7578725" y="4997450"/>
                      <a:ext cx="41275" cy="63500"/>
                    </a:xfrm>
                    <a:custGeom>
                      <a:avLst/>
                      <a:gdLst>
                        <a:gd name="T0" fmla="*/ 8 w 26"/>
                        <a:gd name="T1" fmla="*/ 40 h 40"/>
                        <a:gd name="T2" fmla="*/ 0 w 26"/>
                        <a:gd name="T3" fmla="*/ 34 h 40"/>
                        <a:gd name="T4" fmla="*/ 13 w 26"/>
                        <a:gd name="T5" fmla="*/ 20 h 40"/>
                        <a:gd name="T6" fmla="*/ 0 w 26"/>
                        <a:gd name="T7" fmla="*/ 8 h 40"/>
                        <a:gd name="T8" fmla="*/ 8 w 26"/>
                        <a:gd name="T9" fmla="*/ 0 h 40"/>
                        <a:gd name="T10" fmla="*/ 26 w 26"/>
                        <a:gd name="T11" fmla="*/ 20 h 40"/>
                        <a:gd name="T12" fmla="*/ 8 w 26"/>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6" h="40">
                          <a:moveTo>
                            <a:pt x="8" y="40"/>
                          </a:moveTo>
                          <a:lnTo>
                            <a:pt x="0" y="34"/>
                          </a:lnTo>
                          <a:lnTo>
                            <a:pt x="13" y="20"/>
                          </a:lnTo>
                          <a:lnTo>
                            <a:pt x="0" y="8"/>
                          </a:lnTo>
                          <a:lnTo>
                            <a:pt x="8" y="0"/>
                          </a:lnTo>
                          <a:lnTo>
                            <a:pt x="26" y="20"/>
                          </a:lnTo>
                          <a:lnTo>
                            <a:pt x="8" y="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7" name="Freeform 16"/>
                    <p:cNvSpPr>
                      <a:spLocks/>
                    </p:cNvSpPr>
                    <p:nvPr/>
                  </p:nvSpPr>
                  <p:spPr bwMode="auto">
                    <a:xfrm>
                      <a:off x="7681913" y="4997450"/>
                      <a:ext cx="41275" cy="63500"/>
                    </a:xfrm>
                    <a:custGeom>
                      <a:avLst/>
                      <a:gdLst>
                        <a:gd name="T0" fmla="*/ 19 w 26"/>
                        <a:gd name="T1" fmla="*/ 40 h 40"/>
                        <a:gd name="T2" fmla="*/ 0 w 26"/>
                        <a:gd name="T3" fmla="*/ 20 h 40"/>
                        <a:gd name="T4" fmla="*/ 19 w 26"/>
                        <a:gd name="T5" fmla="*/ 0 h 40"/>
                        <a:gd name="T6" fmla="*/ 26 w 26"/>
                        <a:gd name="T7" fmla="*/ 8 h 40"/>
                        <a:gd name="T8" fmla="*/ 12 w 26"/>
                        <a:gd name="T9" fmla="*/ 20 h 40"/>
                        <a:gd name="T10" fmla="*/ 26 w 26"/>
                        <a:gd name="T11" fmla="*/ 34 h 40"/>
                        <a:gd name="T12" fmla="*/ 19 w 26"/>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6" h="40">
                          <a:moveTo>
                            <a:pt x="19" y="40"/>
                          </a:moveTo>
                          <a:lnTo>
                            <a:pt x="0" y="20"/>
                          </a:lnTo>
                          <a:lnTo>
                            <a:pt x="19" y="0"/>
                          </a:lnTo>
                          <a:lnTo>
                            <a:pt x="26" y="8"/>
                          </a:lnTo>
                          <a:lnTo>
                            <a:pt x="12" y="20"/>
                          </a:lnTo>
                          <a:lnTo>
                            <a:pt x="26" y="34"/>
                          </a:lnTo>
                          <a:lnTo>
                            <a:pt x="19" y="4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7538" tIns="53770" rIns="107538" bIns="53770" numCol="1" anchor="t" anchorCtr="0" compatLnSpc="1">
                      <a:prstTxWarp prst="textNoShape">
                        <a:avLst/>
                      </a:prstTxWarp>
                    </a:bodyPr>
                    <a:lstStyle/>
                    <a:p>
                      <a:pPr marL="0" marR="0" lvl="0" indent="0" algn="l" defTabSz="1075350" rtl="0" eaLnBrk="1" fontAlgn="auto" latinLnBrk="0" hangingPunct="1">
                        <a:lnSpc>
                          <a:spcPct val="100000"/>
                        </a:lnSpc>
                        <a:spcBef>
                          <a:spcPts val="0"/>
                        </a:spcBef>
                        <a:spcAft>
                          <a:spcPts val="0"/>
                        </a:spcAft>
                        <a:buClrTx/>
                        <a:buSzTx/>
                        <a:buFontTx/>
                        <a:buNone/>
                        <a:tabLst/>
                        <a:defRPr/>
                      </a:pPr>
                      <a:endParaRPr kumimoji="0" lang="en-US" sz="1961"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grpSp>
            </p:grpSp>
          </p:grpSp>
        </p:grpSp>
        <p:sp>
          <p:nvSpPr>
            <p:cNvPr id="44" name="TextBox 43"/>
            <p:cNvSpPr txBox="1"/>
            <p:nvPr/>
          </p:nvSpPr>
          <p:spPr>
            <a:xfrm>
              <a:off x="5534601" y="4170997"/>
              <a:ext cx="1721599" cy="996989"/>
            </a:xfrm>
            <a:prstGeom prst="rect">
              <a:avLst/>
            </a:prstGeom>
            <a:noFill/>
          </p:spPr>
          <p:txBody>
            <a:bodyPr wrap="none" lIns="179259" tIns="143407" rIns="179259" bIns="143407" rtlCol="0">
              <a:spAutoFit/>
            </a:bodyPr>
            <a:lstStyle/>
            <a:p>
              <a:pPr marL="0" marR="0" lvl="0" indent="0" algn="ctr" defTabSz="896214" rtl="0" eaLnBrk="1" fontAlgn="auto" latinLnBrk="0" hangingPunct="1">
                <a:lnSpc>
                  <a:spcPct val="90000"/>
                </a:lnSpc>
                <a:spcBef>
                  <a:spcPts val="0"/>
                </a:spcBef>
                <a:spcAft>
                  <a:spcPts val="588"/>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panose="020F0502020204030204"/>
                  <a:ea typeface="+mn-ea"/>
                  <a:cs typeface="+mn-cs"/>
                </a:rPr>
                <a:t>Digital </a:t>
              </a:r>
              <a:br>
                <a:rPr kumimoji="0" lang="en-US" sz="1600" b="0" i="0" u="none" strike="noStrike" kern="0" cap="none" spc="0" normalizeH="0" baseline="0" noProof="0" dirty="0">
                  <a:ln>
                    <a:noFill/>
                  </a:ln>
                  <a:solidFill>
                    <a:prstClr val="white"/>
                  </a:solidFill>
                  <a:effectLst/>
                  <a:uLnTx/>
                  <a:uFillTx/>
                  <a:latin typeface="Calibri" panose="020F0502020204030204"/>
                  <a:ea typeface="+mn-ea"/>
                  <a:cs typeface="+mn-cs"/>
                </a:rPr>
              </a:br>
              <a:r>
                <a:rPr kumimoji="0" lang="en-US" sz="1600" b="0" i="0" u="none" strike="noStrike" kern="0" cap="none" spc="0" normalizeH="0" baseline="0" noProof="0" dirty="0">
                  <a:ln>
                    <a:noFill/>
                  </a:ln>
                  <a:solidFill>
                    <a:prstClr val="white"/>
                  </a:solidFill>
                  <a:effectLst/>
                  <a:uLnTx/>
                  <a:uFillTx/>
                  <a:latin typeface="Calibri" panose="020F0502020204030204"/>
                  <a:ea typeface="+mn-ea"/>
                  <a:cs typeface="+mn-cs"/>
                </a:rPr>
                <a:t>Transformation</a:t>
              </a:r>
            </a:p>
          </p:txBody>
        </p:sp>
      </p:grpSp>
      <p:grpSp>
        <p:nvGrpSpPr>
          <p:cNvPr id="11" name="Group 10"/>
          <p:cNvGrpSpPr/>
          <p:nvPr/>
        </p:nvGrpSpPr>
        <p:grpSpPr>
          <a:xfrm>
            <a:off x="600166" y="5480207"/>
            <a:ext cx="10982616" cy="0"/>
            <a:chOff x="766887" y="4677610"/>
            <a:chExt cx="11204430" cy="0"/>
          </a:xfrm>
        </p:grpSpPr>
        <p:cxnSp>
          <p:nvCxnSpPr>
            <p:cNvPr id="8" name="Straight Connector 7"/>
            <p:cNvCxnSpPr/>
            <p:nvPr/>
          </p:nvCxnSpPr>
          <p:spPr>
            <a:xfrm>
              <a:off x="766887" y="4677610"/>
              <a:ext cx="4202241" cy="0"/>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769076" y="4677610"/>
              <a:ext cx="4202241" cy="0"/>
            </a:xfrm>
            <a:prstGeom prst="line">
              <a:avLst/>
            </a:prstGeom>
            <a:ln w="28575">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A67BC3B7-C455-4987-8517-587A2FC743D4}"/>
              </a:ext>
            </a:extLst>
          </p:cNvPr>
          <p:cNvGrpSpPr/>
          <p:nvPr/>
        </p:nvGrpSpPr>
        <p:grpSpPr>
          <a:xfrm>
            <a:off x="308800" y="1401000"/>
            <a:ext cx="11531195" cy="4016417"/>
            <a:chOff x="307383" y="1004398"/>
            <a:chExt cx="11532830" cy="4016987"/>
          </a:xfrm>
        </p:grpSpPr>
        <p:sp>
          <p:nvSpPr>
            <p:cNvPr id="4" name="Rectangle 3"/>
            <p:cNvSpPr/>
            <p:nvPr/>
          </p:nvSpPr>
          <p:spPr bwMode="auto">
            <a:xfrm>
              <a:off x="311794" y="1016602"/>
              <a:ext cx="1630849" cy="1217851"/>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QUALITY BASIC EDUCATION </a:t>
              </a:r>
            </a:p>
          </p:txBody>
        </p:sp>
        <p:sp>
          <p:nvSpPr>
            <p:cNvPr id="28" name="Rectangle 27"/>
            <p:cNvSpPr/>
            <p:nvPr/>
          </p:nvSpPr>
          <p:spPr bwMode="auto">
            <a:xfrm>
              <a:off x="3882080" y="1019253"/>
              <a:ext cx="1752164" cy="1217850"/>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LONG AND HEALTHY LIFE FOR ALL</a:t>
              </a:r>
            </a:p>
          </p:txBody>
        </p:sp>
        <p:sp>
          <p:nvSpPr>
            <p:cNvPr id="29" name="Rectangle 28"/>
            <p:cNvSpPr/>
            <p:nvPr/>
          </p:nvSpPr>
          <p:spPr bwMode="auto">
            <a:xfrm>
              <a:off x="8072234" y="1026870"/>
              <a:ext cx="1764569" cy="1226080"/>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LL PEOPLE ARE AND FEEL SAFE </a:t>
              </a:r>
            </a:p>
          </p:txBody>
        </p:sp>
        <p:sp>
          <p:nvSpPr>
            <p:cNvPr id="30" name="Rectangle 29"/>
            <p:cNvSpPr/>
            <p:nvPr/>
          </p:nvSpPr>
          <p:spPr bwMode="auto">
            <a:xfrm>
              <a:off x="5726016" y="1016429"/>
              <a:ext cx="2259202" cy="1226080"/>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DECENT EMPLOYMENT THROUGH INCLUSIVE ECONOMIC GROWTH </a:t>
              </a:r>
            </a:p>
          </p:txBody>
        </p:sp>
        <p:sp>
          <p:nvSpPr>
            <p:cNvPr id="46" name="Rectangle 45">
              <a:extLst>
                <a:ext uri="{FF2B5EF4-FFF2-40B4-BE49-F238E27FC236}">
                  <a16:creationId xmlns:a16="http://schemas.microsoft.com/office/drawing/2014/main" id="{24084B52-9F67-4FB2-AEBF-6C4ABB9A5880}"/>
                </a:ext>
              </a:extLst>
            </p:cNvPr>
            <p:cNvSpPr/>
            <p:nvPr/>
          </p:nvSpPr>
          <p:spPr bwMode="auto">
            <a:xfrm>
              <a:off x="2025739" y="1012488"/>
              <a:ext cx="1764569" cy="1226081"/>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 SKILLED AND CAPABLE WORKFORCE </a:t>
              </a:r>
              <a:endParaRPr kumimoji="0" lang="en-US" sz="14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47" name="Rectangle 46">
              <a:extLst>
                <a:ext uri="{FF2B5EF4-FFF2-40B4-BE49-F238E27FC236}">
                  <a16:creationId xmlns:a16="http://schemas.microsoft.com/office/drawing/2014/main" id="{ED1046D0-4251-42C4-9EE7-7CEA12C7CB1E}"/>
                </a:ext>
              </a:extLst>
            </p:cNvPr>
            <p:cNvSpPr/>
            <p:nvPr/>
          </p:nvSpPr>
          <p:spPr bwMode="auto">
            <a:xfrm>
              <a:off x="9928574" y="1004398"/>
              <a:ext cx="1911639" cy="1226081"/>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N EFFICENT, COMPETITIVE AND RESPONSIVE ECONOMIC INFRASTRUCTURE </a:t>
              </a:r>
            </a:p>
          </p:txBody>
        </p:sp>
        <p:sp>
          <p:nvSpPr>
            <p:cNvPr id="48" name="Rectangle 47">
              <a:extLst>
                <a:ext uri="{FF2B5EF4-FFF2-40B4-BE49-F238E27FC236}">
                  <a16:creationId xmlns:a16="http://schemas.microsoft.com/office/drawing/2014/main" id="{69BF9A64-7542-42D8-A243-25A3F4C8CB72}"/>
                </a:ext>
              </a:extLst>
            </p:cNvPr>
            <p:cNvSpPr/>
            <p:nvPr/>
          </p:nvSpPr>
          <p:spPr bwMode="auto">
            <a:xfrm>
              <a:off x="307383" y="2297304"/>
              <a:ext cx="1630849" cy="1260444"/>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VIBRANT, EQUITABLE AND SUSTAINABLE RURAL COMMUNITIES – FOOD SECURITY </a:t>
              </a:r>
            </a:p>
          </p:txBody>
        </p:sp>
        <p:sp>
          <p:nvSpPr>
            <p:cNvPr id="49" name="Rectangle 48">
              <a:extLst>
                <a:ext uri="{FF2B5EF4-FFF2-40B4-BE49-F238E27FC236}">
                  <a16:creationId xmlns:a16="http://schemas.microsoft.com/office/drawing/2014/main" id="{B6A207E8-5573-4931-8E45-505D1099896A}"/>
                </a:ext>
              </a:extLst>
            </p:cNvPr>
            <p:cNvSpPr/>
            <p:nvPr/>
          </p:nvSpPr>
          <p:spPr bwMode="auto">
            <a:xfrm>
              <a:off x="2025739" y="2287989"/>
              <a:ext cx="1730350" cy="1293109"/>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USTAINABLE HUMAN SETTLEMENTS AND IMPROVED QUALITY OF LIFE </a:t>
              </a:r>
            </a:p>
          </p:txBody>
        </p:sp>
        <p:sp>
          <p:nvSpPr>
            <p:cNvPr id="50" name="Rectangle 49">
              <a:extLst>
                <a:ext uri="{FF2B5EF4-FFF2-40B4-BE49-F238E27FC236}">
                  <a16:creationId xmlns:a16="http://schemas.microsoft.com/office/drawing/2014/main" id="{7C7940D7-D504-4B23-8880-9ABE47A91161}"/>
                </a:ext>
              </a:extLst>
            </p:cNvPr>
            <p:cNvSpPr/>
            <p:nvPr/>
          </p:nvSpPr>
          <p:spPr bwMode="auto">
            <a:xfrm>
              <a:off x="5726016" y="2283264"/>
              <a:ext cx="2259202" cy="1274484"/>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PROTECTING AND ENHANCING ENVIRONMENTAL ASSETS AND NATURAL RESOURCES </a:t>
              </a:r>
            </a:p>
          </p:txBody>
        </p:sp>
        <p:sp>
          <p:nvSpPr>
            <p:cNvPr id="51" name="Rectangle 50">
              <a:extLst>
                <a:ext uri="{FF2B5EF4-FFF2-40B4-BE49-F238E27FC236}">
                  <a16:creationId xmlns:a16="http://schemas.microsoft.com/office/drawing/2014/main" id="{630A997D-5CA4-4E01-9E4B-164A5E9CE83D}"/>
                </a:ext>
              </a:extLst>
            </p:cNvPr>
            <p:cNvSpPr/>
            <p:nvPr/>
          </p:nvSpPr>
          <p:spPr bwMode="auto">
            <a:xfrm>
              <a:off x="3869676" y="2283264"/>
              <a:ext cx="1764568" cy="1297836"/>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 RESPONSIVE, ACCOUNTABLE, EFFECTIVE AND EFFICIENT DEVELOPMENTAL LOCAL GOVERNMENT </a:t>
              </a:r>
            </a:p>
          </p:txBody>
        </p:sp>
        <p:sp>
          <p:nvSpPr>
            <p:cNvPr id="52" name="Rectangle 51">
              <a:extLst>
                <a:ext uri="{FF2B5EF4-FFF2-40B4-BE49-F238E27FC236}">
                  <a16:creationId xmlns:a16="http://schemas.microsoft.com/office/drawing/2014/main" id="{41F24162-3978-4ADD-8AED-2A9C3C51E813}"/>
                </a:ext>
              </a:extLst>
            </p:cNvPr>
            <p:cNvSpPr/>
            <p:nvPr/>
          </p:nvSpPr>
          <p:spPr bwMode="auto">
            <a:xfrm>
              <a:off x="8072234" y="2298377"/>
              <a:ext cx="1764569" cy="1297836"/>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CREATE A BETTER SOUTH AFRICA, CONTRIBUTE TO A BETTER AND SAFER AFRICA </a:t>
              </a:r>
            </a:p>
          </p:txBody>
        </p:sp>
        <p:sp>
          <p:nvSpPr>
            <p:cNvPr id="53" name="Rectangle 52">
              <a:extLst>
                <a:ext uri="{FF2B5EF4-FFF2-40B4-BE49-F238E27FC236}">
                  <a16:creationId xmlns:a16="http://schemas.microsoft.com/office/drawing/2014/main" id="{8EF1BF9F-1355-4455-95A9-4EC0B20A5179}"/>
                </a:ext>
              </a:extLst>
            </p:cNvPr>
            <p:cNvSpPr/>
            <p:nvPr/>
          </p:nvSpPr>
          <p:spPr bwMode="auto">
            <a:xfrm>
              <a:off x="9923819" y="2297303"/>
              <a:ext cx="1907808" cy="1297836"/>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N EFFICIENT, EFFECTIVE AND DEVELOPMENT-ORIENTED PUBLIC SERVICE </a:t>
              </a:r>
            </a:p>
          </p:txBody>
        </p:sp>
        <p:sp>
          <p:nvSpPr>
            <p:cNvPr id="54" name="Rectangle 53">
              <a:extLst>
                <a:ext uri="{FF2B5EF4-FFF2-40B4-BE49-F238E27FC236}">
                  <a16:creationId xmlns:a16="http://schemas.microsoft.com/office/drawing/2014/main" id="{E76354C5-3740-4D62-8F02-20803ABAFAE3}"/>
                </a:ext>
              </a:extLst>
            </p:cNvPr>
            <p:cNvSpPr/>
            <p:nvPr/>
          </p:nvSpPr>
          <p:spPr bwMode="auto">
            <a:xfrm>
              <a:off x="9923819" y="3723549"/>
              <a:ext cx="1907807" cy="1281878"/>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 DIVERSE, SOCIALLY COHESIVE SOCIETY WITH A COMMON NATIONAL IDENTITY </a:t>
              </a:r>
            </a:p>
          </p:txBody>
        </p:sp>
        <p:sp>
          <p:nvSpPr>
            <p:cNvPr id="55" name="Rectangle 54">
              <a:extLst>
                <a:ext uri="{FF2B5EF4-FFF2-40B4-BE49-F238E27FC236}">
                  <a16:creationId xmlns:a16="http://schemas.microsoft.com/office/drawing/2014/main" id="{7E525771-BF6B-4291-92C0-F9F915B65161}"/>
                </a:ext>
              </a:extLst>
            </p:cNvPr>
            <p:cNvSpPr/>
            <p:nvPr/>
          </p:nvSpPr>
          <p:spPr bwMode="auto">
            <a:xfrm>
              <a:off x="307996" y="3723549"/>
              <a:ext cx="1630849" cy="1297836"/>
            </a:xfrm>
            <a:prstGeom prst="rect">
              <a:avLst/>
            </a:prstGeom>
            <a:solidFill>
              <a:schemeClr val="accent4">
                <a:lumMod val="75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p>
              <a:pPr marL="0" marR="0" lvl="0" indent="0" algn="ctr" defTabSz="846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AN INCLUSIVE AND RESPONSIVE SOCIAL PROTECTION SYSTEM </a:t>
              </a:r>
            </a:p>
          </p:txBody>
        </p:sp>
      </p:grpSp>
    </p:spTree>
    <p:extLst>
      <p:ext uri="{BB962C8B-B14F-4D97-AF65-F5344CB8AC3E}">
        <p14:creationId xmlns:p14="http://schemas.microsoft.com/office/powerpoint/2010/main" val="4100954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Users\sguest\AppData\Local\Microsoft\Windows\Temporary Internet Files\Content.IE5\UGETMTG5\MPj04278100000[1].jpg"/>
          <p:cNvPicPr>
            <a:picLocks noChangeAspect="1" noChangeArrowheads="1"/>
          </p:cNvPicPr>
          <p:nvPr/>
        </p:nvPicPr>
        <p:blipFill>
          <a:blip r:embed="rId3" cstate="print"/>
          <a:srcRect/>
          <a:stretch>
            <a:fillRect/>
          </a:stretch>
        </p:blipFill>
        <p:spPr bwMode="auto">
          <a:xfrm>
            <a:off x="865" y="487"/>
            <a:ext cx="12190271" cy="6857027"/>
          </a:xfrm>
          <a:prstGeom prst="rect">
            <a:avLst/>
          </a:prstGeom>
          <a:noFill/>
        </p:spPr>
      </p:pic>
      <p:sp>
        <p:nvSpPr>
          <p:cNvPr id="2" name="TextBox 1"/>
          <p:cNvSpPr txBox="1"/>
          <p:nvPr/>
        </p:nvSpPr>
        <p:spPr>
          <a:xfrm>
            <a:off x="3370907" y="213108"/>
            <a:ext cx="7856347" cy="1015343"/>
          </a:xfrm>
          <a:prstGeom prst="rect">
            <a:avLst/>
          </a:prstGeom>
          <a:noFill/>
        </p:spPr>
        <p:txBody>
          <a:bodyPr wrap="square" lIns="0" tIns="0" rIns="0" bIns="0" rtlCol="0">
            <a:spAutoFit/>
          </a:bodyPr>
          <a:lstStyle/>
          <a:p>
            <a:pPr defTabSz="914225">
              <a:defRPr/>
            </a:pPr>
            <a:r>
              <a:rPr lang="en-US" sz="6598" dirty="0">
                <a:solidFill>
                  <a:srgbClr val="FFFFFF"/>
                </a:solidFill>
                <a:latin typeface="Segoe UI Light" pitchFamily="34" charset="0"/>
              </a:rPr>
              <a:t>Questions?</a:t>
            </a:r>
          </a:p>
        </p:txBody>
      </p:sp>
    </p:spTree>
    <p:extLst>
      <p:ext uri="{BB962C8B-B14F-4D97-AF65-F5344CB8AC3E}">
        <p14:creationId xmlns:p14="http://schemas.microsoft.com/office/powerpoint/2010/main" val="3250553788"/>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52401"/>
            <a:ext cx="3570206" cy="1957459"/>
          </a:xfrm>
        </p:spPr>
        <p:txBody>
          <a:bodyPr/>
          <a:lstStyle/>
          <a:p>
            <a:r>
              <a:rPr lang="en-US" b="1" dirty="0"/>
              <a:t>Data Creation is exploding</a:t>
            </a:r>
            <a:endParaRPr lang="en-US" dirty="0"/>
          </a:p>
        </p:txBody>
      </p:sp>
      <p:sp>
        <p:nvSpPr>
          <p:cNvPr id="8" name="Slide Number Placeholder 7"/>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52FC3A-E1BD-E54F-9A48-71EBDEF00552}"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Footer Placeholder 6"/>
          <p:cNvSpPr>
            <a:spLocks noGrp="1"/>
          </p:cNvSpPr>
          <p:nvPr>
            <p:ph type="ftr" sz="quarter" idx="4294967295"/>
          </p:nvPr>
        </p:nvSpPr>
        <p:spPr>
          <a:xfrm>
            <a:off x="7154670" y="6437742"/>
            <a:ext cx="2894705" cy="13386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5" name="Content Placeholder 4"/>
          <p:cNvSpPr>
            <a:spLocks noGrp="1"/>
          </p:cNvSpPr>
          <p:nvPr>
            <p:ph sz="quarter" idx="16"/>
          </p:nvPr>
        </p:nvSpPr>
        <p:spPr>
          <a:xfrm>
            <a:off x="3809637" y="381000"/>
            <a:ext cx="3353163" cy="5734050"/>
          </a:xfrm>
        </p:spPr>
        <p:txBody>
          <a:bodyPr/>
          <a:lstStyle/>
          <a:p>
            <a:pPr marL="342900" indent="-342900">
              <a:buFont typeface="Wingdings" panose="05000000000000000000" pitchFamily="2" charset="2"/>
              <a:buChar char="Ø"/>
              <a:defRPr/>
            </a:pPr>
            <a:r>
              <a:rPr lang="en-US" sz="2400" dirty="0">
                <a:solidFill>
                  <a:srgbClr val="002060"/>
                </a:solidFill>
              </a:rPr>
              <a:t>More data has been created in the past two years than in the entire previous history of the human race. Every day 2.5 quintillion* bytes of data are created. </a:t>
            </a:r>
          </a:p>
          <a:p>
            <a:pPr marL="342900" indent="-342900">
              <a:buFont typeface="Wingdings" panose="05000000000000000000" pitchFamily="2" charset="2"/>
              <a:buChar char="Ø"/>
              <a:defRPr/>
            </a:pPr>
            <a:r>
              <a:rPr lang="en-US" sz="2400" dirty="0">
                <a:solidFill>
                  <a:srgbClr val="002060"/>
                </a:solidFill>
              </a:rPr>
              <a:t>In 1992 100GB of data created a day; 2002 100GB created every second. By 2014 this had grown to 28,875 GB/sec By 2018 it will be 50,000 GB/sec. </a:t>
            </a:r>
          </a:p>
          <a:p>
            <a:endParaRPr lang="en-US" sz="2400" dirty="0"/>
          </a:p>
        </p:txBody>
      </p:sp>
      <p:sp>
        <p:nvSpPr>
          <p:cNvPr id="6" name="Content Placeholder 5"/>
          <p:cNvSpPr>
            <a:spLocks noGrp="1"/>
          </p:cNvSpPr>
          <p:nvPr>
            <p:ph sz="quarter" idx="17"/>
          </p:nvPr>
        </p:nvSpPr>
        <p:spPr>
          <a:xfrm>
            <a:off x="7207311" y="381000"/>
            <a:ext cx="3263778" cy="5372100"/>
          </a:xfrm>
        </p:spPr>
        <p:txBody>
          <a:bodyPr/>
          <a:lstStyle/>
          <a:p>
            <a:pPr marL="342900" indent="-342900">
              <a:buFont typeface="Wingdings" panose="05000000000000000000" pitchFamily="2" charset="2"/>
              <a:buChar char="Ø"/>
              <a:defRPr/>
            </a:pPr>
            <a:r>
              <a:rPr lang="en-US" sz="2400" dirty="0">
                <a:solidFill>
                  <a:srgbClr val="002060"/>
                </a:solidFill>
              </a:rPr>
              <a:t>By the year 2020, about 1.7 megabytes of new information will be created </a:t>
            </a:r>
            <a:r>
              <a:rPr lang="en-US" sz="2400" i="1" dirty="0">
                <a:solidFill>
                  <a:srgbClr val="002060"/>
                </a:solidFill>
              </a:rPr>
              <a:t>every second </a:t>
            </a:r>
            <a:r>
              <a:rPr lang="en-US" sz="2400" dirty="0">
                <a:solidFill>
                  <a:srgbClr val="002060"/>
                </a:solidFill>
              </a:rPr>
              <a:t>for every human being on the planet.</a:t>
            </a:r>
          </a:p>
          <a:p>
            <a:pPr marL="342900" indent="-342900">
              <a:buFont typeface="Arial" panose="020B0604020202020204" pitchFamily="34" charset="0"/>
              <a:buChar char="•"/>
              <a:defRPr/>
            </a:pPr>
            <a:r>
              <a:rPr lang="en-US" sz="2400" dirty="0">
                <a:solidFill>
                  <a:srgbClr val="002060"/>
                </a:solidFill>
              </a:rPr>
              <a:t>2018 over 1.8 billion smart phones were sold - all packed with cameras and sensors capable of collecting all kinds of data; think QR codes; NFC, etc.</a:t>
            </a:r>
          </a:p>
          <a:p>
            <a:endParaRPr lang="en-US" sz="2400" dirty="0"/>
          </a:p>
          <a:p>
            <a:endParaRPr lang="en-US" sz="24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4600" y="6111875"/>
            <a:ext cx="43434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91709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3657600" cy="1597360"/>
          </a:xfrm>
        </p:spPr>
        <p:txBody>
          <a:bodyPr/>
          <a:lstStyle/>
          <a:p>
            <a:r>
              <a:rPr lang="en-US" sz="3400" dirty="0"/>
              <a:t>Data as a ‘New Currency’ </a:t>
            </a:r>
          </a:p>
        </p:txBody>
      </p:sp>
      <p:sp>
        <p:nvSpPr>
          <p:cNvPr id="7" name="Slide Number Placeholder 6"/>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52FC3A-E1BD-E54F-9A48-71EBDEF00552}" type="slidenum">
              <a:rPr kumimoji="0" lang="en-US" sz="882" b="0" i="0" u="none" strike="noStrike" kern="1200" cap="none" spc="0" normalizeH="0" baseline="0" noProof="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sp>
        <p:nvSpPr>
          <p:cNvPr id="6" name="Footer Placeholder 5"/>
          <p:cNvSpPr>
            <a:spLocks noGrp="1"/>
          </p:cNvSpPr>
          <p:nvPr>
            <p:ph type="ftr" sz="quarter" idx="4294967295"/>
          </p:nvPr>
        </p:nvSpPr>
        <p:spPr>
          <a:xfrm>
            <a:off x="7154670" y="6437742"/>
            <a:ext cx="2894705" cy="13386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5" name="Content Placeholder 4"/>
          <p:cNvSpPr>
            <a:spLocks noGrp="1"/>
          </p:cNvSpPr>
          <p:nvPr>
            <p:ph sz="quarter" idx="16"/>
          </p:nvPr>
        </p:nvSpPr>
        <p:spPr>
          <a:xfrm>
            <a:off x="3809637" y="742950"/>
            <a:ext cx="6858363" cy="5372100"/>
          </a:xfrm>
        </p:spPr>
        <p:txBody>
          <a:bodyPr/>
          <a:lstStyle/>
          <a:p>
            <a:pPr marL="457200" indent="-457200">
              <a:buFont typeface="Wingdings" panose="05000000000000000000" pitchFamily="2" charset="2"/>
              <a:buChar char="Ø"/>
            </a:pPr>
            <a:r>
              <a:rPr lang="en-US" dirty="0">
                <a:solidFill>
                  <a:srgbClr val="002060"/>
                </a:solidFill>
              </a:rPr>
              <a:t>Data is what gives many recent internet giants their valuation – Uber $65+bn?</a:t>
            </a:r>
          </a:p>
          <a:p>
            <a:pPr marL="457200" indent="-457200">
              <a:buFont typeface="Wingdings" panose="05000000000000000000" pitchFamily="2" charset="2"/>
              <a:buChar char="Ø"/>
            </a:pPr>
            <a:r>
              <a:rPr lang="en-US" dirty="0">
                <a:solidFill>
                  <a:srgbClr val="002060"/>
                </a:solidFill>
              </a:rPr>
              <a:t>It is not just the collection of data, but how it is used to create value for both the data controller and those that contribute data.</a:t>
            </a:r>
          </a:p>
          <a:p>
            <a:pPr marL="457200" indent="-457200">
              <a:buFont typeface="Wingdings" panose="05000000000000000000" pitchFamily="2" charset="2"/>
              <a:buChar char="Ø"/>
            </a:pPr>
            <a:r>
              <a:rPr lang="en-US" dirty="0">
                <a:solidFill>
                  <a:srgbClr val="002060"/>
                </a:solidFill>
              </a:rPr>
              <a:t>Data that is ‘hidden’ or over classified may not add value to a national economy.</a:t>
            </a:r>
          </a:p>
          <a:p>
            <a:pPr marL="457200" indent="-457200">
              <a:buFont typeface="Wingdings" panose="05000000000000000000" pitchFamily="2" charset="2"/>
              <a:buChar char="Ø"/>
            </a:pPr>
            <a:r>
              <a:rPr lang="en-US" dirty="0">
                <a:solidFill>
                  <a:srgbClr val="002060"/>
                </a:solidFill>
              </a:rPr>
              <a:t>The challenge for government is how to best manage and secure Data for the benefit of all. </a:t>
            </a:r>
            <a:endParaRPr lang="en-GB" dirty="0">
              <a:solidFill>
                <a:srgbClr val="002060"/>
              </a:solidFill>
            </a:endParaRPr>
          </a:p>
        </p:txBody>
      </p:sp>
    </p:spTree>
    <p:extLst>
      <p:ext uri="{BB962C8B-B14F-4D97-AF65-F5344CB8AC3E}">
        <p14:creationId xmlns:p14="http://schemas.microsoft.com/office/powerpoint/2010/main" val="1602071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8927" y="286381"/>
            <a:ext cx="3033073" cy="5059847"/>
          </a:xfrm>
        </p:spPr>
        <p:txBody>
          <a:bodyPr/>
          <a:lstStyle/>
          <a:p>
            <a:r>
              <a:rPr lang="en-US" dirty="0"/>
              <a:t>The “WHY” for Cloud: </a:t>
            </a:r>
            <a:br>
              <a:rPr lang="en-US" dirty="0"/>
            </a:br>
            <a:r>
              <a:rPr lang="en-ZA" dirty="0"/>
              <a:t>Benefits of cloud computing for the public sector</a:t>
            </a:r>
            <a:endParaRPr lang="en-US" dirty="0"/>
          </a:p>
        </p:txBody>
      </p:sp>
      <p:sp>
        <p:nvSpPr>
          <p:cNvPr id="6" name="Footer Placeholder 5"/>
          <p:cNvSpPr>
            <a:spLocks noGrp="1"/>
          </p:cNvSpPr>
          <p:nvPr>
            <p:ph type="ftr" sz="quarter" idx="4294967295"/>
          </p:nvPr>
        </p:nvSpPr>
        <p:spPr>
          <a:xfrm>
            <a:off x="7507558" y="6437742"/>
            <a:ext cx="3859607" cy="13386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7" name="Slide Number Placeholder 6"/>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52FC3A-E1BD-E54F-9A48-71EBDEF00552}" type="slidenum">
              <a:rPr kumimoji="0" lang="en-US" sz="882"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8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9" name="Group 8"/>
          <p:cNvGrpSpPr/>
          <p:nvPr/>
        </p:nvGrpSpPr>
        <p:grpSpPr>
          <a:xfrm>
            <a:off x="3572070" y="252868"/>
            <a:ext cx="3458619" cy="2150297"/>
            <a:chOff x="0" y="2725120"/>
            <a:chExt cx="3458619" cy="2150297"/>
          </a:xfrm>
        </p:grpSpPr>
        <p:pic>
          <p:nvPicPr>
            <p:cNvPr id="10" name="Picture 9"/>
            <p:cNvPicPr>
              <a:picLocks noChangeAspect="1"/>
            </p:cNvPicPr>
            <p:nvPr/>
          </p:nvPicPr>
          <p:blipFill>
            <a:blip r:embed="rId3">
              <a:duotone>
                <a:schemeClr val="accent5">
                  <a:shade val="45000"/>
                  <a:satMod val="135000"/>
                </a:schemeClr>
                <a:prstClr val="white"/>
              </a:duotone>
            </a:blip>
            <a:stretch>
              <a:fillRect/>
            </a:stretch>
          </p:blipFill>
          <p:spPr>
            <a:xfrm>
              <a:off x="854565" y="2725120"/>
              <a:ext cx="1237160" cy="1224000"/>
            </a:xfrm>
            <a:prstGeom prst="rect">
              <a:avLst/>
            </a:prstGeom>
          </p:spPr>
        </p:pic>
        <p:sp>
          <p:nvSpPr>
            <p:cNvPr id="11" name="TextBox 10"/>
            <p:cNvSpPr txBox="1"/>
            <p:nvPr/>
          </p:nvSpPr>
          <p:spPr>
            <a:xfrm>
              <a:off x="0" y="4218827"/>
              <a:ext cx="3458619"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505050"/>
                  </a:solidFill>
                  <a:effectLst/>
                  <a:uLnTx/>
                  <a:uFillTx/>
                  <a:latin typeface="Segoe UI"/>
                  <a:ea typeface="Helvetica Neue Light"/>
                  <a:cs typeface="Helvetica Neue Light"/>
                  <a:sym typeface="Helvetica Neue Light"/>
                </a:rPr>
                <a:t>Global standard for IT provision</a:t>
              </a:r>
            </a:p>
          </p:txBody>
        </p:sp>
      </p:grpSp>
      <p:grpSp>
        <p:nvGrpSpPr>
          <p:cNvPr id="12" name="Group 11"/>
          <p:cNvGrpSpPr/>
          <p:nvPr/>
        </p:nvGrpSpPr>
        <p:grpSpPr>
          <a:xfrm>
            <a:off x="3168033" y="3412096"/>
            <a:ext cx="2840039" cy="1923800"/>
            <a:chOff x="9506724" y="2562415"/>
            <a:chExt cx="2840039" cy="1923800"/>
          </a:xfrm>
        </p:grpSpPr>
        <p:pic>
          <p:nvPicPr>
            <p:cNvPr id="13" name="Picture 12"/>
            <p:cNvPicPr>
              <a:picLocks noChangeAspect="1"/>
            </p:cNvPicPr>
            <p:nvPr/>
          </p:nvPicPr>
          <p:blipFill>
            <a:blip r:embed="rId4">
              <a:duotone>
                <a:schemeClr val="accent5">
                  <a:shade val="45000"/>
                  <a:satMod val="135000"/>
                </a:schemeClr>
                <a:prstClr val="white"/>
              </a:duotone>
            </a:blip>
            <a:stretch>
              <a:fillRect/>
            </a:stretch>
          </p:blipFill>
          <p:spPr>
            <a:xfrm>
              <a:off x="10402911" y="2562415"/>
              <a:ext cx="1237160" cy="1224000"/>
            </a:xfrm>
            <a:prstGeom prst="rect">
              <a:avLst/>
            </a:prstGeom>
          </p:spPr>
        </p:pic>
        <p:sp>
          <p:nvSpPr>
            <p:cNvPr id="14" name="TextBox 13"/>
            <p:cNvSpPr txBox="1"/>
            <p:nvPr/>
          </p:nvSpPr>
          <p:spPr>
            <a:xfrm>
              <a:off x="9506724" y="3829625"/>
              <a:ext cx="2840039"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505050"/>
                  </a:solidFill>
                  <a:effectLst/>
                  <a:uLnTx/>
                  <a:uFillTx/>
                  <a:latin typeface="Segoe UI"/>
                  <a:ea typeface="Helvetica Neue Light"/>
                  <a:cs typeface="Helvetica Neue Light"/>
                  <a:sym typeface="Helvetica Neue Light"/>
                </a:rPr>
                <a:t>Efficiency at reduced public resources </a:t>
              </a:r>
            </a:p>
          </p:txBody>
        </p:sp>
      </p:grpSp>
      <p:grpSp>
        <p:nvGrpSpPr>
          <p:cNvPr id="15" name="Group 14"/>
          <p:cNvGrpSpPr/>
          <p:nvPr/>
        </p:nvGrpSpPr>
        <p:grpSpPr>
          <a:xfrm>
            <a:off x="6274619" y="3058213"/>
            <a:ext cx="3458619" cy="2202848"/>
            <a:chOff x="3791952" y="5903570"/>
            <a:chExt cx="3458619" cy="2202848"/>
          </a:xfrm>
        </p:grpSpPr>
        <p:pic>
          <p:nvPicPr>
            <p:cNvPr id="16" name="Picture 15"/>
            <p:cNvPicPr>
              <a:picLocks noChangeAspect="1"/>
            </p:cNvPicPr>
            <p:nvPr/>
          </p:nvPicPr>
          <p:blipFill>
            <a:blip r:embed="rId5">
              <a:duotone>
                <a:schemeClr val="accent5">
                  <a:shade val="45000"/>
                  <a:satMod val="135000"/>
                </a:schemeClr>
                <a:prstClr val="white"/>
              </a:duotone>
            </a:blip>
            <a:stretch>
              <a:fillRect/>
            </a:stretch>
          </p:blipFill>
          <p:spPr>
            <a:xfrm>
              <a:off x="5066800" y="5903570"/>
              <a:ext cx="1237160" cy="1224000"/>
            </a:xfrm>
            <a:prstGeom prst="rect">
              <a:avLst/>
            </a:prstGeom>
          </p:spPr>
        </p:pic>
        <p:sp>
          <p:nvSpPr>
            <p:cNvPr id="17" name="TextBox 16"/>
            <p:cNvSpPr txBox="1"/>
            <p:nvPr/>
          </p:nvSpPr>
          <p:spPr>
            <a:xfrm>
              <a:off x="3791952" y="7172829"/>
              <a:ext cx="3458619" cy="9335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505050"/>
                  </a:solidFill>
                  <a:effectLst/>
                  <a:uLnTx/>
                  <a:uFillTx/>
                  <a:latin typeface="Segoe UI"/>
                  <a:ea typeface="Helvetica Neue Light"/>
                  <a:cs typeface="Helvetica Neue Light"/>
                  <a:sym typeface="Helvetica Neue Light"/>
                </a:rPr>
                <a:t>Key in times of stagnating economy and reduced government spend </a:t>
              </a:r>
            </a:p>
          </p:txBody>
        </p:sp>
      </p:grpSp>
      <p:grpSp>
        <p:nvGrpSpPr>
          <p:cNvPr id="18" name="Group 17"/>
          <p:cNvGrpSpPr/>
          <p:nvPr/>
        </p:nvGrpSpPr>
        <p:grpSpPr>
          <a:xfrm>
            <a:off x="6464826" y="401448"/>
            <a:ext cx="3458619" cy="1890013"/>
            <a:chOff x="-212644" y="6264288"/>
            <a:chExt cx="3458619" cy="1890013"/>
          </a:xfrm>
        </p:grpSpPr>
        <p:pic>
          <p:nvPicPr>
            <p:cNvPr id="19" name="Picture 18"/>
            <p:cNvPicPr>
              <a:picLocks noChangeAspect="1"/>
            </p:cNvPicPr>
            <p:nvPr/>
          </p:nvPicPr>
          <p:blipFill>
            <a:blip r:embed="rId6">
              <a:duotone>
                <a:schemeClr val="accent5">
                  <a:shade val="45000"/>
                  <a:satMod val="135000"/>
                </a:schemeClr>
                <a:prstClr val="white"/>
              </a:duotone>
            </a:blip>
            <a:stretch>
              <a:fillRect/>
            </a:stretch>
          </p:blipFill>
          <p:spPr>
            <a:xfrm>
              <a:off x="867269" y="6264288"/>
              <a:ext cx="1210978" cy="1224000"/>
            </a:xfrm>
            <a:prstGeom prst="rect">
              <a:avLst/>
            </a:prstGeom>
          </p:spPr>
        </p:pic>
        <p:sp>
          <p:nvSpPr>
            <p:cNvPr id="20" name="TextBox 19"/>
            <p:cNvSpPr txBox="1"/>
            <p:nvPr/>
          </p:nvSpPr>
          <p:spPr>
            <a:xfrm>
              <a:off x="-212644" y="7774710"/>
              <a:ext cx="3458619" cy="3795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505050"/>
                  </a:solidFill>
                  <a:effectLst/>
                  <a:uLnTx/>
                  <a:uFillTx/>
                  <a:latin typeface="Segoe UI"/>
                  <a:ea typeface="Helvetica Neue Light"/>
                  <a:cs typeface="Helvetica Neue Light"/>
                  <a:sym typeface="Helvetica Neue Light"/>
                </a:rPr>
                <a:t>Cost Savings </a:t>
              </a:r>
            </a:p>
          </p:txBody>
        </p:sp>
      </p:grpSp>
      <p:grpSp>
        <p:nvGrpSpPr>
          <p:cNvPr id="21" name="Group 20"/>
          <p:cNvGrpSpPr/>
          <p:nvPr/>
        </p:nvGrpSpPr>
        <p:grpSpPr>
          <a:xfrm>
            <a:off x="10115978" y="3412096"/>
            <a:ext cx="2045860" cy="1848965"/>
            <a:chOff x="9800004" y="5878846"/>
            <a:chExt cx="2045860" cy="1848965"/>
          </a:xfrm>
        </p:grpSpPr>
        <p:pic>
          <p:nvPicPr>
            <p:cNvPr id="22" name="Picture 21"/>
            <p:cNvPicPr>
              <a:picLocks noChangeAspect="1"/>
            </p:cNvPicPr>
            <p:nvPr/>
          </p:nvPicPr>
          <p:blipFill>
            <a:blip r:embed="rId7">
              <a:duotone>
                <a:schemeClr val="accent5">
                  <a:shade val="45000"/>
                  <a:satMod val="135000"/>
                </a:schemeClr>
                <a:prstClr val="white"/>
              </a:duotone>
            </a:blip>
            <a:stretch>
              <a:fillRect/>
            </a:stretch>
          </p:blipFill>
          <p:spPr>
            <a:xfrm>
              <a:off x="10239124" y="5878846"/>
              <a:ext cx="1224000" cy="1224000"/>
            </a:xfrm>
            <a:prstGeom prst="rect">
              <a:avLst/>
            </a:prstGeom>
          </p:spPr>
        </p:pic>
        <p:sp>
          <p:nvSpPr>
            <p:cNvPr id="23" name="TextBox 22"/>
            <p:cNvSpPr txBox="1"/>
            <p:nvPr/>
          </p:nvSpPr>
          <p:spPr>
            <a:xfrm>
              <a:off x="9800004" y="7071221"/>
              <a:ext cx="2045860"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505050"/>
                  </a:solidFill>
                  <a:effectLst/>
                  <a:uLnTx/>
                  <a:uFillTx/>
                  <a:latin typeface="Segoe UI"/>
                  <a:ea typeface="Helvetica Neue Light"/>
                  <a:cs typeface="Helvetica Neue Light"/>
                  <a:sym typeface="Helvetica Neue Light"/>
                </a:rPr>
                <a:t>Stimulates </a:t>
              </a:r>
            </a:p>
            <a:p>
              <a:pPr marL="0" marR="0" lvl="0" indent="0" algn="ctr" defTabSz="584200" rtl="0" eaLnBrk="1" fontAlgn="auto" latinLnBrk="0" hangingPunct="0">
                <a:lnSpc>
                  <a:spcPct val="9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505050"/>
                  </a:solidFill>
                  <a:effectLst/>
                  <a:uLnTx/>
                  <a:uFillTx/>
                  <a:latin typeface="Segoe UI"/>
                  <a:ea typeface="Helvetica Neue Light"/>
                  <a:cs typeface="Helvetica Neue Light"/>
                  <a:sym typeface="Helvetica Neue Light"/>
                </a:rPr>
                <a:t>e-government</a:t>
              </a:r>
            </a:p>
          </p:txBody>
        </p:sp>
      </p:grpSp>
      <p:grpSp>
        <p:nvGrpSpPr>
          <p:cNvPr id="24" name="Group 23"/>
          <p:cNvGrpSpPr/>
          <p:nvPr/>
        </p:nvGrpSpPr>
        <p:grpSpPr>
          <a:xfrm>
            <a:off x="9409598" y="296863"/>
            <a:ext cx="3458619" cy="1949475"/>
            <a:chOff x="4742813" y="2560972"/>
            <a:chExt cx="3458619" cy="1949475"/>
          </a:xfrm>
        </p:grpSpPr>
        <p:pic>
          <p:nvPicPr>
            <p:cNvPr id="25" name="Picture 24"/>
            <p:cNvPicPr>
              <a:picLocks noChangeAspect="1"/>
            </p:cNvPicPr>
            <p:nvPr/>
          </p:nvPicPr>
          <p:blipFill>
            <a:blip r:embed="rId8">
              <a:duotone>
                <a:schemeClr val="accent5">
                  <a:shade val="45000"/>
                  <a:satMod val="135000"/>
                </a:schemeClr>
                <a:prstClr val="white"/>
              </a:duotone>
            </a:blip>
            <a:stretch>
              <a:fillRect/>
            </a:stretch>
          </p:blipFill>
          <p:spPr>
            <a:xfrm>
              <a:off x="5890400" y="2560972"/>
              <a:ext cx="1224000" cy="1224000"/>
            </a:xfrm>
            <a:prstGeom prst="rect">
              <a:avLst/>
            </a:prstGeom>
          </p:spPr>
        </p:pic>
        <p:sp>
          <p:nvSpPr>
            <p:cNvPr id="26" name="TextBox 25"/>
            <p:cNvSpPr txBox="1"/>
            <p:nvPr/>
          </p:nvSpPr>
          <p:spPr>
            <a:xfrm>
              <a:off x="4742813" y="4130856"/>
              <a:ext cx="3458619" cy="3795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584200" rtl="0" eaLnBrk="1" fontAlgn="auto" latinLnBrk="0" hangingPunct="0">
                <a:lnSpc>
                  <a:spcPct val="90000"/>
                </a:lnSpc>
                <a:spcBef>
                  <a:spcPts val="0"/>
                </a:spcBef>
                <a:spcAft>
                  <a:spcPts val="0"/>
                </a:spcAft>
                <a:buClrTx/>
                <a:buSzTx/>
                <a:buFontTx/>
                <a:buNone/>
                <a:tabLst/>
                <a:defRPr/>
              </a:pPr>
              <a:r>
                <a:rPr kumimoji="0" lang="en-ZA" sz="2000" b="1" i="0" u="none" strike="noStrike" kern="1200" cap="none" spc="0" normalizeH="0" baseline="0" noProof="0" dirty="0">
                  <a:ln>
                    <a:noFill/>
                  </a:ln>
                  <a:solidFill>
                    <a:srgbClr val="505050"/>
                  </a:solidFill>
                  <a:effectLst/>
                  <a:uLnTx/>
                  <a:uFillTx/>
                  <a:latin typeface="Segoe UI"/>
                  <a:ea typeface="Helvetica Neue Light"/>
                  <a:cs typeface="Helvetica Neue Light"/>
                  <a:sym typeface="Helvetica Neue Light"/>
                </a:rPr>
                <a:t>Generic benefits </a:t>
              </a:r>
            </a:p>
          </p:txBody>
        </p:sp>
      </p:grpSp>
      <p:sp>
        <p:nvSpPr>
          <p:cNvPr id="3" name="Rectangle 2"/>
          <p:cNvSpPr/>
          <p:nvPr/>
        </p:nvSpPr>
        <p:spPr>
          <a:xfrm>
            <a:off x="4484253" y="5858341"/>
            <a:ext cx="6096000" cy="646331"/>
          </a:xfrm>
          <a:prstGeom prst="rect">
            <a:avLst/>
          </a:prstGeom>
        </p:spPr>
        <p:txBody>
          <a:bodyPr>
            <a:spAutoFit/>
          </a:bodyPr>
          <a:lstStyle/>
          <a:p>
            <a:pPr marL="0" marR="0" lvl="0" indent="0" algn="ctr" defTabSz="889000" rtl="0" eaLnBrk="1" fontAlgn="auto" latinLnBrk="0" hangingPunct="1">
              <a:lnSpc>
                <a:spcPct val="100000"/>
              </a:lnSpc>
              <a:spcBef>
                <a:spcPct val="0"/>
              </a:spcBef>
              <a:spcAft>
                <a:spcPct val="35000"/>
              </a:spcAft>
              <a:buClrTx/>
              <a:buSzTx/>
              <a:buFontTx/>
              <a:buNone/>
              <a:tabLst/>
              <a:defRPr/>
            </a:pPr>
            <a:r>
              <a:rPr kumimoji="0" lang="en-ZA" sz="1800" b="0" i="0" u="none" strike="noStrike" kern="1200" cap="none" spc="0" normalizeH="0" baseline="0" noProof="0" dirty="0">
                <a:ln>
                  <a:noFill/>
                </a:ln>
                <a:solidFill>
                  <a:srgbClr val="0078D7"/>
                </a:solidFill>
                <a:effectLst/>
                <a:uLnTx/>
                <a:uFillTx/>
                <a:latin typeface="Segoe UI"/>
                <a:ea typeface="+mn-ea"/>
                <a:cs typeface="+mn-cs"/>
              </a:rPr>
              <a:t>Cloud services is best able to address  the business challenges in the public sector</a:t>
            </a:r>
            <a:endParaRPr kumimoji="0" lang="en-US" sz="1800" b="0" i="0" u="none" strike="noStrike" kern="1200" cap="none" spc="0" normalizeH="0" baseline="0" noProof="0" dirty="0">
              <a:ln>
                <a:noFill/>
              </a:ln>
              <a:solidFill>
                <a:srgbClr val="0078D7"/>
              </a:solidFill>
              <a:effectLst/>
              <a:uLnTx/>
              <a:uFillTx/>
              <a:latin typeface="Segoe UI"/>
              <a:ea typeface="+mn-ea"/>
              <a:cs typeface="+mn-cs"/>
            </a:endParaRPr>
          </a:p>
        </p:txBody>
      </p:sp>
    </p:spTree>
    <p:extLst>
      <p:ext uri="{BB962C8B-B14F-4D97-AF65-F5344CB8AC3E}">
        <p14:creationId xmlns:p14="http://schemas.microsoft.com/office/powerpoint/2010/main" val="2666392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IN" dirty="0"/>
              <a:t>Cloud is becoming integral to government  transformation</a:t>
            </a:r>
          </a:p>
        </p:txBody>
      </p:sp>
      <p:grpSp>
        <p:nvGrpSpPr>
          <p:cNvPr id="39" name="Group 38"/>
          <p:cNvGrpSpPr/>
          <p:nvPr/>
        </p:nvGrpSpPr>
        <p:grpSpPr>
          <a:xfrm>
            <a:off x="7217763" y="2368184"/>
            <a:ext cx="4358480" cy="3891951"/>
            <a:chOff x="7362493" y="2415174"/>
            <a:chExt cx="4445877" cy="3969992"/>
          </a:xfrm>
        </p:grpSpPr>
        <p:sp>
          <p:nvSpPr>
            <p:cNvPr id="130" name="TextBox 129"/>
            <p:cNvSpPr txBox="1"/>
            <p:nvPr/>
          </p:nvSpPr>
          <p:spPr>
            <a:xfrm>
              <a:off x="7362493" y="2415174"/>
              <a:ext cx="4445877" cy="3102853"/>
            </a:xfrm>
            <a:prstGeom prst="rect">
              <a:avLst/>
            </a:prstGeom>
            <a:noFill/>
          </p:spPr>
          <p:txBody>
            <a:bodyPr wrap="square" rtlCol="0">
              <a:spAutoFit/>
            </a:bodyPr>
            <a:lstStyle/>
            <a:p>
              <a:pPr marL="278565" marR="0" lvl="0" indent="-278565" algn="l" defTabSz="896386" rtl="0" eaLnBrk="1" fontAlgn="auto" latinLnBrk="0" hangingPunct="1">
                <a:lnSpc>
                  <a:spcPts val="4607"/>
                </a:lnSpc>
                <a:spcBef>
                  <a:spcPts val="0"/>
                </a:spcBef>
                <a:spcAft>
                  <a:spcPts val="0"/>
                </a:spcAft>
                <a:buClrTx/>
                <a:buSzTx/>
                <a:buFontTx/>
                <a:buNone/>
                <a:tabLst/>
                <a:defRPr/>
              </a:pPr>
              <a:r>
                <a:rPr kumimoji="0" lang="en-US" sz="5882" b="1" i="0" u="none" strike="noStrike" kern="1200" cap="none" spc="-39" normalizeH="0" baseline="0" noProof="0" dirty="0">
                  <a:ln>
                    <a:noFill/>
                  </a:ln>
                  <a:solidFill>
                    <a:srgbClr val="0072C6"/>
                  </a:solidFill>
                  <a:effectLst/>
                  <a:uLnTx/>
                  <a:uFillTx/>
                  <a:latin typeface="Segoe UI Light"/>
                  <a:ea typeface="+mn-ea"/>
                  <a:cs typeface="+mn-cs"/>
                </a:rPr>
                <a:t>“71% </a:t>
              </a:r>
              <a:r>
                <a:rPr kumimoji="0" lang="en-US" sz="3137" b="0" i="0" u="none" strike="noStrike" kern="1200" cap="none" spc="-39" normalizeH="0" baseline="0" noProof="0" dirty="0">
                  <a:ln>
                    <a:noFill/>
                  </a:ln>
                  <a:solidFill>
                    <a:srgbClr val="505050"/>
                  </a:solidFill>
                  <a:effectLst/>
                  <a:uLnTx/>
                  <a:uFillTx/>
                  <a:latin typeface="Segoe UI Light"/>
                  <a:ea typeface="+mn-ea"/>
                  <a:cs typeface="+mn-cs"/>
                </a:rPr>
                <a:t>of government CIOs cite scalability, cost and agility</a:t>
              </a:r>
              <a:r>
                <a:rPr kumimoji="0" lang="en-US" sz="3137" b="1" i="0" u="none" strike="noStrike" kern="1200" cap="none" spc="-39" normalizeH="0" baseline="0" noProof="0" dirty="0">
                  <a:ln>
                    <a:noFill/>
                  </a:ln>
                  <a:solidFill>
                    <a:srgbClr val="505050"/>
                  </a:solidFill>
                  <a:effectLst/>
                  <a:uLnTx/>
                  <a:uFillTx/>
                  <a:latin typeface="Segoe UI Light"/>
                  <a:ea typeface="+mn-ea"/>
                  <a:cs typeface="+mn-cs"/>
                </a:rPr>
                <a:t> </a:t>
              </a:r>
              <a:r>
                <a:rPr kumimoji="0" lang="en-US" sz="3137" b="0" i="0" u="none" strike="noStrike" kern="1200" cap="none" spc="-39" normalizeH="0" baseline="0" noProof="0" dirty="0">
                  <a:ln>
                    <a:noFill/>
                  </a:ln>
                  <a:solidFill>
                    <a:srgbClr val="505050"/>
                  </a:solidFill>
                  <a:effectLst/>
                  <a:uLnTx/>
                  <a:uFillTx/>
                  <a:latin typeface="Segoe UI Light"/>
                  <a:ea typeface="+mn-ea"/>
                  <a:cs typeface="+mn-cs"/>
                </a:rPr>
                <a:t>as the most important drivers for using cloud services.“</a:t>
              </a:r>
            </a:p>
          </p:txBody>
        </p:sp>
        <p:sp>
          <p:nvSpPr>
            <p:cNvPr id="131" name="Rectangle 130"/>
            <p:cNvSpPr/>
            <p:nvPr/>
          </p:nvSpPr>
          <p:spPr>
            <a:xfrm>
              <a:off x="8576436" y="6015834"/>
              <a:ext cx="2883084" cy="369332"/>
            </a:xfrm>
            <a:prstGeom prst="rect">
              <a:avLst/>
            </a:prstGeom>
          </p:spPr>
          <p:txBody>
            <a:bodyPr wrap="square">
              <a:spAutoFit/>
            </a:bodyPr>
            <a:lstStyle/>
            <a:p>
              <a:pPr marL="0" marR="0" lvl="0" indent="0" algn="r"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505050"/>
                  </a:solidFill>
                  <a:effectLst/>
                  <a:uLnTx/>
                  <a:uFillTx/>
                  <a:latin typeface="Segoe UI"/>
                  <a:ea typeface="+mn-ea"/>
                  <a:cs typeface="+mn-cs"/>
                </a:rPr>
                <a:t>– </a:t>
              </a:r>
              <a:r>
                <a:rPr kumimoji="0" lang="en-US" sz="1765" b="0" i="0" u="none" strike="noStrike" kern="1200" cap="none" spc="0" normalizeH="0" baseline="0" noProof="0" dirty="0" err="1">
                  <a:ln>
                    <a:noFill/>
                  </a:ln>
                  <a:solidFill>
                    <a:srgbClr val="505050"/>
                  </a:solidFill>
                  <a:effectLst/>
                  <a:uLnTx/>
                  <a:uFillTx/>
                  <a:latin typeface="Segoe UI"/>
                  <a:ea typeface="+mn-ea"/>
                  <a:cs typeface="+mn-cs"/>
                </a:rPr>
                <a:t>Gigaom</a:t>
              </a:r>
              <a:r>
                <a:rPr kumimoji="0" lang="en-US" sz="1765" b="0" i="0" u="none" strike="noStrike" kern="1200" cap="none" spc="0" normalizeH="0" baseline="0" noProof="0" dirty="0">
                  <a:ln>
                    <a:noFill/>
                  </a:ln>
                  <a:solidFill>
                    <a:srgbClr val="505050"/>
                  </a:solidFill>
                  <a:effectLst/>
                  <a:uLnTx/>
                  <a:uFillTx/>
                  <a:latin typeface="Segoe UI"/>
                  <a:ea typeface="+mn-ea"/>
                  <a:cs typeface="+mn-cs"/>
                </a:rPr>
                <a:t> Research</a:t>
              </a:r>
            </a:p>
          </p:txBody>
        </p:sp>
      </p:grpSp>
      <p:grpSp>
        <p:nvGrpSpPr>
          <p:cNvPr id="11" name="Group 10"/>
          <p:cNvGrpSpPr/>
          <p:nvPr/>
        </p:nvGrpSpPr>
        <p:grpSpPr>
          <a:xfrm>
            <a:off x="457691" y="2229130"/>
            <a:ext cx="6139351" cy="1177523"/>
            <a:chOff x="466868" y="2273332"/>
            <a:chExt cx="6262458" cy="1201135"/>
          </a:xfrm>
        </p:grpSpPr>
        <p:sp>
          <p:nvSpPr>
            <p:cNvPr id="14" name="Rectangle 13"/>
            <p:cNvSpPr/>
            <p:nvPr/>
          </p:nvSpPr>
          <p:spPr>
            <a:xfrm>
              <a:off x="529930" y="2273332"/>
              <a:ext cx="134883" cy="118408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21" name="Rectangle 20"/>
            <p:cNvSpPr/>
            <p:nvPr/>
          </p:nvSpPr>
          <p:spPr>
            <a:xfrm>
              <a:off x="475554" y="2286228"/>
              <a:ext cx="6253772" cy="1187185"/>
            </a:xfrm>
            <a:custGeom>
              <a:avLst/>
              <a:gdLst/>
              <a:ahLst/>
              <a:cxnLst/>
              <a:rect l="l" t="t" r="r" b="b"/>
              <a:pathLst>
                <a:path w="6253772" h="1187185">
                  <a:moveTo>
                    <a:pt x="0" y="0"/>
                  </a:moveTo>
                  <a:lnTo>
                    <a:pt x="6164001" y="0"/>
                  </a:lnTo>
                  <a:cubicBezTo>
                    <a:pt x="6220909" y="160719"/>
                    <a:pt x="6253772" y="366668"/>
                    <a:pt x="6253772" y="590982"/>
                  </a:cubicBezTo>
                  <a:cubicBezTo>
                    <a:pt x="6253772" y="817728"/>
                    <a:pt x="6220193" y="1025708"/>
                    <a:pt x="6162203" y="1187185"/>
                  </a:cubicBezTo>
                  <a:lnTo>
                    <a:pt x="0" y="1187185"/>
                  </a:lnTo>
                  <a:close/>
                </a:path>
              </a:pathLst>
            </a:custGeom>
            <a:solidFill>
              <a:schemeClr val="accent3">
                <a:lumMod val="75000"/>
              </a:schemeClr>
            </a:solidFill>
          </p:spPr>
          <p:txBody>
            <a:bodyPr wrap="square" lIns="268927" tIns="45717" rIns="91436" bIns="45717" rtlCol="0" anchor="ctr">
              <a:noAutofit/>
            </a:bodyPr>
            <a:lstStyle/>
            <a:p>
              <a:pPr marL="0" marR="0" lvl="0" indent="0" algn="l" defTabSz="914106" rtl="0" eaLnBrk="1" fontAlgn="base" latinLnBrk="0" hangingPunct="1">
                <a:lnSpc>
                  <a:spcPct val="90000"/>
                </a:lnSpc>
                <a:spcBef>
                  <a:spcPts val="0"/>
                </a:spcBef>
                <a:spcAft>
                  <a:spcPts val="575"/>
                </a:spcAft>
                <a:buClrTx/>
                <a:buSzTx/>
                <a:buFontTx/>
                <a:buNone/>
                <a:tabLst/>
                <a:defRPr/>
              </a:pPr>
              <a:endParaRPr kumimoji="0" lang="en-US" sz="2745"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Light"/>
                <a:ea typeface="+mn-ea"/>
                <a:cs typeface="Segoe UI Semibold" panose="020B0702040204020203" pitchFamily="34" charset="0"/>
              </a:endParaRPr>
            </a:p>
          </p:txBody>
        </p:sp>
        <p:sp>
          <p:nvSpPr>
            <p:cNvPr id="24" name="Rectangle 23"/>
            <p:cNvSpPr/>
            <p:nvPr/>
          </p:nvSpPr>
          <p:spPr>
            <a:xfrm>
              <a:off x="466868" y="2290385"/>
              <a:ext cx="134883" cy="118408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10" name="Rectangle 9"/>
            <p:cNvSpPr/>
            <p:nvPr/>
          </p:nvSpPr>
          <p:spPr>
            <a:xfrm>
              <a:off x="834093" y="2344973"/>
              <a:ext cx="4967617" cy="1015663"/>
            </a:xfrm>
            <a:prstGeom prst="rect">
              <a:avLst/>
            </a:prstGeom>
          </p:spPr>
          <p:txBody>
            <a:bodyPr wrap="square" anchor="ctr">
              <a:spAutoFit/>
            </a:bodyPr>
            <a:lstStyle/>
            <a:p>
              <a:pPr marL="0" marR="0" lvl="0" indent="0" algn="l" defTabSz="914102" rtl="0" eaLnBrk="1" fontAlgn="auto" latinLnBrk="0" hangingPunct="1">
                <a:lnSpc>
                  <a:spcPts val="3529"/>
                </a:lnSpc>
                <a:spcBef>
                  <a:spcPct val="0"/>
                </a:spcBef>
                <a:spcAft>
                  <a:spcPct val="0"/>
                </a:spcAft>
                <a:buClrTx/>
                <a:buSzTx/>
                <a:buFontTx/>
                <a:buNone/>
                <a:tabLst/>
                <a:defRPr/>
              </a:pPr>
              <a:r>
                <a:rPr kumimoji="0" lang="en-IN" sz="3137" b="0" i="0" u="none" strike="noStrike" kern="1200" cap="none" spc="-29" normalizeH="0" baseline="0" noProof="0" dirty="0">
                  <a:ln>
                    <a:noFill/>
                  </a:ln>
                  <a:solidFill>
                    <a:srgbClr val="FFFFFF"/>
                  </a:solidFill>
                  <a:effectLst/>
                  <a:uLnTx/>
                  <a:uFillTx/>
                  <a:latin typeface="Segoe UI Light"/>
                  <a:ea typeface="Segoe UI" pitchFamily="34" charset="0"/>
                  <a:cs typeface="Segoe UI" pitchFamily="34" charset="0"/>
                </a:rPr>
                <a:t>Leverage economies of scale and expertise</a:t>
              </a:r>
            </a:p>
          </p:txBody>
        </p:sp>
        <p:grpSp>
          <p:nvGrpSpPr>
            <p:cNvPr id="8" name="Group 7"/>
            <p:cNvGrpSpPr/>
            <p:nvPr/>
          </p:nvGrpSpPr>
          <p:grpSpPr>
            <a:xfrm>
              <a:off x="6338213" y="2286228"/>
              <a:ext cx="391113" cy="1187185"/>
              <a:chOff x="6338213" y="2144334"/>
              <a:chExt cx="391113" cy="1187185"/>
            </a:xfrm>
          </p:grpSpPr>
          <p:sp>
            <p:nvSpPr>
              <p:cNvPr id="61" name="Rectangle 20"/>
              <p:cNvSpPr/>
              <p:nvPr/>
            </p:nvSpPr>
            <p:spPr>
              <a:xfrm>
                <a:off x="6464337" y="2144334"/>
                <a:ext cx="264989" cy="1187185"/>
              </a:xfrm>
              <a:custGeom>
                <a:avLst/>
                <a:gdLst/>
                <a:ahLst/>
                <a:cxnLst/>
                <a:rect l="l" t="t" r="r" b="b"/>
                <a:pathLst>
                  <a:path w="264989" h="1187185">
                    <a:moveTo>
                      <a:pt x="1798" y="0"/>
                    </a:moveTo>
                    <a:lnTo>
                      <a:pt x="175218" y="0"/>
                    </a:lnTo>
                    <a:cubicBezTo>
                      <a:pt x="232126" y="160719"/>
                      <a:pt x="264989" y="366668"/>
                      <a:pt x="264989" y="590982"/>
                    </a:cubicBezTo>
                    <a:cubicBezTo>
                      <a:pt x="264989" y="817728"/>
                      <a:pt x="231410" y="1025708"/>
                      <a:pt x="173420" y="1187185"/>
                    </a:cubicBezTo>
                    <a:lnTo>
                      <a:pt x="0" y="1187185"/>
                    </a:lnTo>
                    <a:cubicBezTo>
                      <a:pt x="57990" y="1025708"/>
                      <a:pt x="91569" y="817728"/>
                      <a:pt x="91569" y="590982"/>
                    </a:cubicBezTo>
                    <a:cubicBezTo>
                      <a:pt x="91569" y="366668"/>
                      <a:pt x="58706" y="160719"/>
                      <a:pt x="1798" y="0"/>
                    </a:cubicBezTo>
                    <a:close/>
                  </a:path>
                </a:pathLst>
              </a:cu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5" name="Rectangle 20"/>
              <p:cNvSpPr/>
              <p:nvPr/>
            </p:nvSpPr>
            <p:spPr>
              <a:xfrm>
                <a:off x="6338213" y="2144334"/>
                <a:ext cx="264989" cy="1187185"/>
              </a:xfrm>
              <a:custGeom>
                <a:avLst/>
                <a:gdLst/>
                <a:ahLst/>
                <a:cxnLst/>
                <a:rect l="l" t="t" r="r" b="b"/>
                <a:pathLst>
                  <a:path w="264989" h="1187185">
                    <a:moveTo>
                      <a:pt x="1798" y="0"/>
                    </a:moveTo>
                    <a:lnTo>
                      <a:pt x="175218" y="0"/>
                    </a:lnTo>
                    <a:cubicBezTo>
                      <a:pt x="232126" y="160719"/>
                      <a:pt x="264989" y="366668"/>
                      <a:pt x="264989" y="590982"/>
                    </a:cubicBezTo>
                    <a:cubicBezTo>
                      <a:pt x="264989" y="817728"/>
                      <a:pt x="231410" y="1025708"/>
                      <a:pt x="173420" y="1187185"/>
                    </a:cubicBezTo>
                    <a:lnTo>
                      <a:pt x="0" y="1187185"/>
                    </a:lnTo>
                    <a:cubicBezTo>
                      <a:pt x="57990" y="1025708"/>
                      <a:pt x="91569" y="817728"/>
                      <a:pt x="91569" y="590982"/>
                    </a:cubicBezTo>
                    <a:cubicBezTo>
                      <a:pt x="91569" y="366668"/>
                      <a:pt x="58706" y="160719"/>
                      <a:pt x="1798" y="0"/>
                    </a:cubicBezTo>
                    <a:close/>
                  </a:path>
                </a:pathLst>
              </a:cu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grpSp>
      </p:grpSp>
      <p:grpSp>
        <p:nvGrpSpPr>
          <p:cNvPr id="12" name="Group 11"/>
          <p:cNvGrpSpPr/>
          <p:nvPr/>
        </p:nvGrpSpPr>
        <p:grpSpPr>
          <a:xfrm>
            <a:off x="457691" y="3598780"/>
            <a:ext cx="6139351" cy="1163847"/>
            <a:chOff x="466868" y="3670446"/>
            <a:chExt cx="6262458" cy="1187185"/>
          </a:xfrm>
        </p:grpSpPr>
        <p:sp>
          <p:nvSpPr>
            <p:cNvPr id="20" name="Rectangle 19"/>
            <p:cNvSpPr/>
            <p:nvPr/>
          </p:nvSpPr>
          <p:spPr>
            <a:xfrm>
              <a:off x="475554" y="3670446"/>
              <a:ext cx="6253772" cy="1187185"/>
            </a:xfrm>
            <a:custGeom>
              <a:avLst/>
              <a:gdLst/>
              <a:ahLst/>
              <a:cxnLst/>
              <a:rect l="l" t="t" r="r" b="b"/>
              <a:pathLst>
                <a:path w="6253772" h="1187185">
                  <a:moveTo>
                    <a:pt x="0" y="0"/>
                  </a:moveTo>
                  <a:lnTo>
                    <a:pt x="6167710" y="0"/>
                  </a:lnTo>
                  <a:cubicBezTo>
                    <a:pt x="6222353" y="159105"/>
                    <a:pt x="6253772" y="360879"/>
                    <a:pt x="6253772" y="580211"/>
                  </a:cubicBezTo>
                  <a:cubicBezTo>
                    <a:pt x="6253772" y="812008"/>
                    <a:pt x="6218680" y="1024194"/>
                    <a:pt x="6158494" y="1187185"/>
                  </a:cubicBezTo>
                  <a:lnTo>
                    <a:pt x="0" y="1187185"/>
                  </a:lnTo>
                  <a:close/>
                </a:path>
              </a:pathLst>
            </a:custGeom>
            <a:solidFill>
              <a:srgbClr val="549901"/>
            </a:solidFill>
          </p:spPr>
          <p:txBody>
            <a:bodyPr wrap="square" lIns="268927" tIns="45717" rIns="91436" bIns="45717" rtlCol="0" anchor="ctr">
              <a:noAutofit/>
            </a:bodyPr>
            <a:lstStyle/>
            <a:p>
              <a:pPr marL="0" marR="0" lvl="0" indent="0" algn="l" defTabSz="914106" rtl="0" eaLnBrk="1" fontAlgn="base" latinLnBrk="0" hangingPunct="1">
                <a:lnSpc>
                  <a:spcPct val="90000"/>
                </a:lnSpc>
                <a:spcBef>
                  <a:spcPts val="0"/>
                </a:spcBef>
                <a:spcAft>
                  <a:spcPts val="575"/>
                </a:spcAft>
                <a:buClrTx/>
                <a:buSzTx/>
                <a:buFontTx/>
                <a:buNone/>
                <a:tabLst/>
                <a:defRPr/>
              </a:pPr>
              <a:endParaRPr kumimoji="0" lang="en-US" sz="2745"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Light"/>
                <a:ea typeface="+mn-ea"/>
                <a:cs typeface="Segoe UI Semibold" panose="020B0702040204020203" pitchFamily="34" charset="0"/>
              </a:endParaRPr>
            </a:p>
          </p:txBody>
        </p:sp>
        <p:sp>
          <p:nvSpPr>
            <p:cNvPr id="23" name="Rectangle 22"/>
            <p:cNvSpPr/>
            <p:nvPr/>
          </p:nvSpPr>
          <p:spPr>
            <a:xfrm>
              <a:off x="466868" y="3672319"/>
              <a:ext cx="134883" cy="118408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9" name="Rectangle 8"/>
            <p:cNvSpPr/>
            <p:nvPr/>
          </p:nvSpPr>
          <p:spPr>
            <a:xfrm>
              <a:off x="834093" y="3763675"/>
              <a:ext cx="4651046" cy="1015663"/>
            </a:xfrm>
            <a:prstGeom prst="rect">
              <a:avLst/>
            </a:prstGeom>
          </p:spPr>
          <p:txBody>
            <a:bodyPr wrap="square" anchor="ctr">
              <a:spAutoFit/>
            </a:bodyPr>
            <a:lstStyle/>
            <a:p>
              <a:pPr marL="0" marR="0" lvl="0" indent="0" algn="l" defTabSz="914102" rtl="0" eaLnBrk="1" fontAlgn="auto" latinLnBrk="0" hangingPunct="1">
                <a:lnSpc>
                  <a:spcPts val="3529"/>
                </a:lnSpc>
                <a:spcBef>
                  <a:spcPct val="0"/>
                </a:spcBef>
                <a:spcAft>
                  <a:spcPct val="0"/>
                </a:spcAft>
                <a:buClrTx/>
                <a:buSzTx/>
                <a:buFontTx/>
                <a:buNone/>
                <a:tabLst/>
                <a:defRPr/>
              </a:pPr>
              <a:r>
                <a:rPr kumimoji="0" lang="en-IN" sz="3137" b="0" i="0" u="none" strike="noStrike" kern="1200" cap="none" spc="-29" normalizeH="0" baseline="0" noProof="0" dirty="0">
                  <a:ln>
                    <a:noFill/>
                  </a:ln>
                  <a:solidFill>
                    <a:srgbClr val="FFFFFF"/>
                  </a:solidFill>
                  <a:effectLst/>
                  <a:uLnTx/>
                  <a:uFillTx/>
                  <a:latin typeface="Segoe UI Light"/>
                  <a:ea typeface="Segoe UI" pitchFamily="34" charset="0"/>
                  <a:cs typeface="Segoe UI" pitchFamily="34" charset="0"/>
                </a:rPr>
                <a:t>Reshape how you engage with customers</a:t>
              </a:r>
            </a:p>
          </p:txBody>
        </p:sp>
        <p:grpSp>
          <p:nvGrpSpPr>
            <p:cNvPr id="66" name="Group 65"/>
            <p:cNvGrpSpPr/>
            <p:nvPr/>
          </p:nvGrpSpPr>
          <p:grpSpPr>
            <a:xfrm>
              <a:off x="6338213" y="3670446"/>
              <a:ext cx="391113" cy="1187185"/>
              <a:chOff x="6338213" y="2144334"/>
              <a:chExt cx="391113" cy="1187185"/>
            </a:xfrm>
          </p:grpSpPr>
          <p:sp>
            <p:nvSpPr>
              <p:cNvPr id="67" name="Rectangle 20"/>
              <p:cNvSpPr/>
              <p:nvPr/>
            </p:nvSpPr>
            <p:spPr>
              <a:xfrm>
                <a:off x="6464337" y="2144334"/>
                <a:ext cx="264989" cy="1187185"/>
              </a:xfrm>
              <a:custGeom>
                <a:avLst/>
                <a:gdLst/>
                <a:ahLst/>
                <a:cxnLst/>
                <a:rect l="l" t="t" r="r" b="b"/>
                <a:pathLst>
                  <a:path w="264989" h="1187185">
                    <a:moveTo>
                      <a:pt x="1798" y="0"/>
                    </a:moveTo>
                    <a:lnTo>
                      <a:pt x="175218" y="0"/>
                    </a:lnTo>
                    <a:cubicBezTo>
                      <a:pt x="232126" y="160719"/>
                      <a:pt x="264989" y="366668"/>
                      <a:pt x="264989" y="590982"/>
                    </a:cubicBezTo>
                    <a:cubicBezTo>
                      <a:pt x="264989" y="817728"/>
                      <a:pt x="231410" y="1025708"/>
                      <a:pt x="173420" y="1187185"/>
                    </a:cubicBezTo>
                    <a:lnTo>
                      <a:pt x="0" y="1187185"/>
                    </a:lnTo>
                    <a:cubicBezTo>
                      <a:pt x="57990" y="1025708"/>
                      <a:pt x="91569" y="817728"/>
                      <a:pt x="91569" y="590982"/>
                    </a:cubicBezTo>
                    <a:cubicBezTo>
                      <a:pt x="91569" y="366668"/>
                      <a:pt x="58706" y="160719"/>
                      <a:pt x="1798" y="0"/>
                    </a:cubicBezTo>
                    <a:close/>
                  </a:path>
                </a:pathLst>
              </a:cu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68" name="Rectangle 20"/>
              <p:cNvSpPr/>
              <p:nvPr/>
            </p:nvSpPr>
            <p:spPr>
              <a:xfrm>
                <a:off x="6338213" y="2144334"/>
                <a:ext cx="264989" cy="1187185"/>
              </a:xfrm>
              <a:custGeom>
                <a:avLst/>
                <a:gdLst/>
                <a:ahLst/>
                <a:cxnLst/>
                <a:rect l="l" t="t" r="r" b="b"/>
                <a:pathLst>
                  <a:path w="264989" h="1187185">
                    <a:moveTo>
                      <a:pt x="1798" y="0"/>
                    </a:moveTo>
                    <a:lnTo>
                      <a:pt x="175218" y="0"/>
                    </a:lnTo>
                    <a:cubicBezTo>
                      <a:pt x="232126" y="160719"/>
                      <a:pt x="264989" y="366668"/>
                      <a:pt x="264989" y="590982"/>
                    </a:cubicBezTo>
                    <a:cubicBezTo>
                      <a:pt x="264989" y="817728"/>
                      <a:pt x="231410" y="1025708"/>
                      <a:pt x="173420" y="1187185"/>
                    </a:cubicBezTo>
                    <a:lnTo>
                      <a:pt x="0" y="1187185"/>
                    </a:lnTo>
                    <a:cubicBezTo>
                      <a:pt x="57990" y="1025708"/>
                      <a:pt x="91569" y="817728"/>
                      <a:pt x="91569" y="590982"/>
                    </a:cubicBezTo>
                    <a:cubicBezTo>
                      <a:pt x="91569" y="366668"/>
                      <a:pt x="58706" y="160719"/>
                      <a:pt x="1798" y="0"/>
                    </a:cubicBezTo>
                    <a:close/>
                  </a:path>
                </a:pathLst>
              </a:cu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grpSp>
      </p:grpSp>
      <p:grpSp>
        <p:nvGrpSpPr>
          <p:cNvPr id="38" name="Group 37"/>
          <p:cNvGrpSpPr/>
          <p:nvPr/>
        </p:nvGrpSpPr>
        <p:grpSpPr>
          <a:xfrm>
            <a:off x="457691" y="5003017"/>
            <a:ext cx="6139351" cy="1164252"/>
            <a:chOff x="466868" y="5102841"/>
            <a:chExt cx="6262458" cy="1187598"/>
          </a:xfrm>
        </p:grpSpPr>
        <p:sp>
          <p:nvSpPr>
            <p:cNvPr id="19" name="Rectangle 18"/>
            <p:cNvSpPr/>
            <p:nvPr/>
          </p:nvSpPr>
          <p:spPr>
            <a:xfrm>
              <a:off x="475554" y="5103254"/>
              <a:ext cx="6253772" cy="1187185"/>
            </a:xfrm>
            <a:custGeom>
              <a:avLst/>
              <a:gdLst/>
              <a:ahLst/>
              <a:cxnLst/>
              <a:rect l="l" t="t" r="r" b="b"/>
              <a:pathLst>
                <a:path w="6253772" h="1187185">
                  <a:moveTo>
                    <a:pt x="0" y="0"/>
                  </a:moveTo>
                  <a:lnTo>
                    <a:pt x="6162279" y="0"/>
                  </a:lnTo>
                  <a:cubicBezTo>
                    <a:pt x="6220223" y="161446"/>
                    <a:pt x="6253772" y="369340"/>
                    <a:pt x="6253772" y="595983"/>
                  </a:cubicBezTo>
                  <a:cubicBezTo>
                    <a:pt x="6253772" y="820400"/>
                    <a:pt x="6220879" y="1026434"/>
                    <a:pt x="6163925" y="1187185"/>
                  </a:cubicBezTo>
                  <a:lnTo>
                    <a:pt x="0" y="1187185"/>
                  </a:lnTo>
                  <a:close/>
                </a:path>
              </a:pathLst>
            </a:custGeom>
            <a:solidFill>
              <a:srgbClr val="43154F"/>
            </a:solidFill>
            <a:effectLst>
              <a:outerShdw blurRad="76200" dir="18900000" sy="23000" kx="-1200000" algn="bl" rotWithShape="0">
                <a:prstClr val="black">
                  <a:alpha val="20000"/>
                </a:prstClr>
              </a:outerShdw>
            </a:effectLst>
          </p:spPr>
          <p:txBody>
            <a:bodyPr wrap="square" lIns="268927" tIns="45717" rIns="91436" bIns="45717" rtlCol="0" anchor="ctr">
              <a:noAutofit/>
            </a:bodyPr>
            <a:lstStyle/>
            <a:p>
              <a:pPr marL="0" marR="0" lvl="0" indent="0" algn="l" defTabSz="914106" rtl="0" eaLnBrk="1" fontAlgn="base" latinLnBrk="0" hangingPunct="1">
                <a:lnSpc>
                  <a:spcPct val="90000"/>
                </a:lnSpc>
                <a:spcBef>
                  <a:spcPts val="0"/>
                </a:spcBef>
                <a:spcAft>
                  <a:spcPts val="575"/>
                </a:spcAft>
                <a:buClrTx/>
                <a:buSzTx/>
                <a:buFontTx/>
                <a:buNone/>
                <a:tabLst/>
                <a:defRPr/>
              </a:pPr>
              <a:endParaRPr kumimoji="0" lang="en-US" sz="2745" b="0" i="0" u="none" strike="noStrike" kern="1200" cap="none" spc="0" normalizeH="0" baseline="0" noProof="0" dirty="0">
                <a:ln>
                  <a:noFill/>
                </a:ln>
                <a:gradFill>
                  <a:gsLst>
                    <a:gs pos="13274">
                      <a:srgbClr val="FFFFFF"/>
                    </a:gs>
                    <a:gs pos="54000">
                      <a:srgbClr val="FFFFFF"/>
                    </a:gs>
                  </a:gsLst>
                  <a:lin ang="5400000" scaled="1"/>
                </a:gradFill>
                <a:effectLst/>
                <a:uLnTx/>
                <a:uFillTx/>
                <a:latin typeface="Segoe UI Light"/>
                <a:ea typeface="+mn-ea"/>
                <a:cs typeface="Segoe UI Semibold" panose="020B0702040204020203" pitchFamily="34" charset="0"/>
              </a:endParaRPr>
            </a:p>
          </p:txBody>
        </p:sp>
        <p:sp>
          <p:nvSpPr>
            <p:cNvPr id="22" name="Rectangle 21"/>
            <p:cNvSpPr/>
            <p:nvPr/>
          </p:nvSpPr>
          <p:spPr>
            <a:xfrm>
              <a:off x="466868" y="5102841"/>
              <a:ext cx="134883" cy="1184082"/>
            </a:xfrm>
            <a:prstGeom prst="rect">
              <a:avLst/>
            </a:pr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7" name="Rectangle 6"/>
            <p:cNvSpPr/>
            <p:nvPr/>
          </p:nvSpPr>
          <p:spPr>
            <a:xfrm>
              <a:off x="834093" y="5178229"/>
              <a:ext cx="5108629" cy="1015663"/>
            </a:xfrm>
            <a:prstGeom prst="rect">
              <a:avLst/>
            </a:prstGeom>
          </p:spPr>
          <p:txBody>
            <a:bodyPr wrap="square" anchor="ctr">
              <a:spAutoFit/>
            </a:bodyPr>
            <a:lstStyle/>
            <a:p>
              <a:pPr marL="0" marR="0" lvl="0" indent="0" algn="l" defTabSz="914102" rtl="0" eaLnBrk="1" fontAlgn="auto" latinLnBrk="0" hangingPunct="1">
                <a:lnSpc>
                  <a:spcPts val="3529"/>
                </a:lnSpc>
                <a:spcBef>
                  <a:spcPct val="0"/>
                </a:spcBef>
                <a:spcAft>
                  <a:spcPct val="0"/>
                </a:spcAft>
                <a:buClrTx/>
                <a:buSzTx/>
                <a:buFontTx/>
                <a:buNone/>
                <a:tabLst/>
                <a:defRPr/>
              </a:pPr>
              <a:r>
                <a:rPr kumimoji="0" lang="en-IN" sz="3137" b="0" i="0" u="none" strike="noStrike" kern="1200" cap="none" spc="-29" normalizeH="0" baseline="0" noProof="0" dirty="0">
                  <a:ln>
                    <a:noFill/>
                  </a:ln>
                  <a:solidFill>
                    <a:srgbClr val="FFFFFF"/>
                  </a:solidFill>
                  <a:effectLst/>
                  <a:uLnTx/>
                  <a:uFillTx/>
                  <a:latin typeface="Segoe UI Light"/>
                  <a:ea typeface="Segoe UI" pitchFamily="34" charset="0"/>
                  <a:cs typeface="Segoe UI" pitchFamily="34" charset="0"/>
                </a:rPr>
                <a:t>Drive new and more rapid sources of innovation</a:t>
              </a:r>
            </a:p>
          </p:txBody>
        </p:sp>
        <p:grpSp>
          <p:nvGrpSpPr>
            <p:cNvPr id="69" name="Group 68"/>
            <p:cNvGrpSpPr/>
            <p:nvPr/>
          </p:nvGrpSpPr>
          <p:grpSpPr>
            <a:xfrm>
              <a:off x="6338213" y="5103254"/>
              <a:ext cx="391113" cy="1187185"/>
              <a:chOff x="6338213" y="2144334"/>
              <a:chExt cx="391113" cy="1187185"/>
            </a:xfrm>
          </p:grpSpPr>
          <p:sp>
            <p:nvSpPr>
              <p:cNvPr id="70" name="Rectangle 20"/>
              <p:cNvSpPr/>
              <p:nvPr/>
            </p:nvSpPr>
            <p:spPr>
              <a:xfrm>
                <a:off x="6464337" y="2144334"/>
                <a:ext cx="264989" cy="1187185"/>
              </a:xfrm>
              <a:custGeom>
                <a:avLst/>
                <a:gdLst/>
                <a:ahLst/>
                <a:cxnLst/>
                <a:rect l="l" t="t" r="r" b="b"/>
                <a:pathLst>
                  <a:path w="264989" h="1187185">
                    <a:moveTo>
                      <a:pt x="1798" y="0"/>
                    </a:moveTo>
                    <a:lnTo>
                      <a:pt x="175218" y="0"/>
                    </a:lnTo>
                    <a:cubicBezTo>
                      <a:pt x="232126" y="160719"/>
                      <a:pt x="264989" y="366668"/>
                      <a:pt x="264989" y="590982"/>
                    </a:cubicBezTo>
                    <a:cubicBezTo>
                      <a:pt x="264989" y="817728"/>
                      <a:pt x="231410" y="1025708"/>
                      <a:pt x="173420" y="1187185"/>
                    </a:cubicBezTo>
                    <a:lnTo>
                      <a:pt x="0" y="1187185"/>
                    </a:lnTo>
                    <a:cubicBezTo>
                      <a:pt x="57990" y="1025708"/>
                      <a:pt x="91569" y="817728"/>
                      <a:pt x="91569" y="590982"/>
                    </a:cubicBezTo>
                    <a:cubicBezTo>
                      <a:pt x="91569" y="366668"/>
                      <a:pt x="58706" y="160719"/>
                      <a:pt x="1798" y="0"/>
                    </a:cubicBezTo>
                    <a:close/>
                  </a:path>
                </a:pathLst>
              </a:cu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sp>
            <p:nvSpPr>
              <p:cNvPr id="71" name="Rectangle 20"/>
              <p:cNvSpPr/>
              <p:nvPr/>
            </p:nvSpPr>
            <p:spPr>
              <a:xfrm>
                <a:off x="6338213" y="2144334"/>
                <a:ext cx="264989" cy="1187185"/>
              </a:xfrm>
              <a:custGeom>
                <a:avLst/>
                <a:gdLst/>
                <a:ahLst/>
                <a:cxnLst/>
                <a:rect l="l" t="t" r="r" b="b"/>
                <a:pathLst>
                  <a:path w="264989" h="1187185">
                    <a:moveTo>
                      <a:pt x="1798" y="0"/>
                    </a:moveTo>
                    <a:lnTo>
                      <a:pt x="175218" y="0"/>
                    </a:lnTo>
                    <a:cubicBezTo>
                      <a:pt x="232126" y="160719"/>
                      <a:pt x="264989" y="366668"/>
                      <a:pt x="264989" y="590982"/>
                    </a:cubicBezTo>
                    <a:cubicBezTo>
                      <a:pt x="264989" y="817728"/>
                      <a:pt x="231410" y="1025708"/>
                      <a:pt x="173420" y="1187185"/>
                    </a:cubicBezTo>
                    <a:lnTo>
                      <a:pt x="0" y="1187185"/>
                    </a:lnTo>
                    <a:cubicBezTo>
                      <a:pt x="57990" y="1025708"/>
                      <a:pt x="91569" y="817728"/>
                      <a:pt x="91569" y="590982"/>
                    </a:cubicBezTo>
                    <a:cubicBezTo>
                      <a:pt x="91569" y="366668"/>
                      <a:pt x="58706" y="160719"/>
                      <a:pt x="1798" y="0"/>
                    </a:cubicBezTo>
                    <a:close/>
                  </a:path>
                </a:pathLst>
              </a:custGeom>
              <a:solidFill>
                <a:schemeClr val="bg1">
                  <a:alpha val="30000"/>
                </a:schemeClr>
              </a:solidFill>
            </p:spPr>
            <p:txBody>
              <a:bodyPr wrap="square" rtlCol="0" anchor="ctr">
                <a:noAutofit/>
              </a:bodyPr>
              <a:lstStyle/>
              <a:p>
                <a:pPr marL="0" marR="0" lvl="0" indent="0" algn="l" defTabSz="896386" rtl="0" eaLnBrk="1" fontAlgn="base" latinLnBrk="0" hangingPunct="1">
                  <a:lnSpc>
                    <a:spcPct val="100000"/>
                  </a:lnSpc>
                  <a:spcBef>
                    <a:spcPts val="0"/>
                  </a:spcBef>
                  <a:spcAft>
                    <a:spcPts val="0"/>
                  </a:spcAft>
                  <a:buClrTx/>
                  <a:buSzTx/>
                  <a:buFontTx/>
                  <a:buNone/>
                  <a:tabLst/>
                  <a:defRPr/>
                </a:pPr>
                <a:endParaRPr kumimoji="0" lang="en-US" sz="2353" b="0" i="0" u="none" strike="noStrike" kern="1200" cap="none" spc="0" normalizeH="0" baseline="0" noProof="0" dirty="0">
                  <a:ln>
                    <a:noFill/>
                  </a:ln>
                  <a:solidFill>
                    <a:srgbClr val="FFFFFF"/>
                  </a:solidFill>
                  <a:effectLst/>
                  <a:uLnTx/>
                  <a:uFillTx/>
                  <a:latin typeface="Segoe UI"/>
                  <a:ea typeface="+mn-ea"/>
                  <a:cs typeface="Segoe UI Light"/>
                </a:endParaRPr>
              </a:p>
            </p:txBody>
          </p:sp>
        </p:grpSp>
      </p:grpSp>
    </p:spTree>
    <p:extLst>
      <p:ext uri="{BB962C8B-B14F-4D97-AF65-F5344CB8AC3E}">
        <p14:creationId xmlns:p14="http://schemas.microsoft.com/office/powerpoint/2010/main" val="4279692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25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0-#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500"/>
                                  </p:stCondLst>
                                  <p:childTnLst>
                                    <p:set>
                                      <p:cBhvr>
                                        <p:cTn id="14" dur="1" fill="hold">
                                          <p:stCondLst>
                                            <p:cond delay="0"/>
                                          </p:stCondLst>
                                        </p:cTn>
                                        <p:tgtEl>
                                          <p:spTgt spid="38"/>
                                        </p:tgtEl>
                                        <p:attrNameLst>
                                          <p:attrName>style.visibility</p:attrName>
                                        </p:attrNameLst>
                                      </p:cBhvr>
                                      <p:to>
                                        <p:strVal val="visible"/>
                                      </p:to>
                                    </p:set>
                                    <p:anim calcmode="lin" valueType="num">
                                      <p:cBhvr additive="base">
                                        <p:cTn id="15" dur="500" fill="hold"/>
                                        <p:tgtEl>
                                          <p:spTgt spid="38"/>
                                        </p:tgtEl>
                                        <p:attrNameLst>
                                          <p:attrName>ppt_x</p:attrName>
                                        </p:attrNameLst>
                                      </p:cBhvr>
                                      <p:tavLst>
                                        <p:tav tm="0">
                                          <p:val>
                                            <p:strVal val="0-#ppt_w/2"/>
                                          </p:val>
                                        </p:tav>
                                        <p:tav tm="100000">
                                          <p:val>
                                            <p:strVal val="#ppt_x"/>
                                          </p:val>
                                        </p:tav>
                                      </p:tavLst>
                                    </p:anim>
                                    <p:anim calcmode="lin" valueType="num">
                                      <p:cBhvr additive="base">
                                        <p:cTn id="16" dur="500" fill="hold"/>
                                        <p:tgtEl>
                                          <p:spTgt spid="38"/>
                                        </p:tgtEl>
                                        <p:attrNameLst>
                                          <p:attrName>ppt_y</p:attrName>
                                        </p:attrNameLst>
                                      </p:cBhvr>
                                      <p:tavLst>
                                        <p:tav tm="0">
                                          <p:val>
                                            <p:strVal val="#ppt_y"/>
                                          </p:val>
                                        </p:tav>
                                        <p:tav tm="100000">
                                          <p:val>
                                            <p:strVal val="#ppt_y"/>
                                          </p:val>
                                        </p:tav>
                                      </p:tavLst>
                                    </p:anim>
                                  </p:childTnLst>
                                </p:cTn>
                              </p:par>
                              <p:par>
                                <p:cTn id="17" presetID="10" presetClass="entr" presetSubtype="0" fill="hold" nodeType="withEffect">
                                  <p:stCondLst>
                                    <p:cond delay="50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7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bwMode="black">
          <a:xfrm>
            <a:off x="2345893" y="1647145"/>
            <a:ext cx="4500979" cy="3919326"/>
          </a:xfrm>
          <a:prstGeom prst="rect">
            <a:avLst/>
          </a:prstGeom>
          <a:gradFill flip="none" rotWithShape="1">
            <a:gsLst>
              <a:gs pos="6000">
                <a:srgbClr val="000000">
                  <a:alpha val="0"/>
                </a:srgbClr>
              </a:gs>
              <a:gs pos="38000">
                <a:srgbClr val="080808">
                  <a:alpha val="23000"/>
                </a:srgbClr>
              </a:gs>
              <a:gs pos="48000">
                <a:srgbClr val="000000">
                  <a:alpha val="48000"/>
                </a:srgbClr>
              </a:gs>
              <a:gs pos="75000">
                <a:srgbClr val="000000">
                  <a:alpha val="26000"/>
                </a:srgbClr>
              </a:gs>
              <a:gs pos="91000">
                <a:srgbClr val="FFFFFF">
                  <a:alpha val="0"/>
                </a:srgbClr>
              </a:gs>
              <a:gs pos="94000">
                <a:srgbClr val="FFFFFF">
                  <a:alpha val="7000"/>
                </a:srgbClr>
              </a:gs>
              <a:gs pos="100000">
                <a:srgbClr val="FFFFFF">
                  <a:alpha val="52000"/>
                </a:srgbClr>
              </a:gs>
            </a:gsLst>
            <a:lin ang="15600000" scaled="0"/>
            <a:tileRect/>
          </a:gradFill>
          <a:ln w="9525">
            <a:gradFill>
              <a:gsLst>
                <a:gs pos="0">
                  <a:srgbClr val="FFFFFF">
                    <a:alpha val="28000"/>
                  </a:srgbClr>
                </a:gs>
                <a:gs pos="50000">
                  <a:srgbClr val="FFFFFF">
                    <a:alpha val="68000"/>
                  </a:srgbClr>
                </a:gs>
                <a:gs pos="100000">
                  <a:srgbClr val="FFFFFF">
                    <a:alpha val="31000"/>
                  </a:srgbClr>
                </a:gs>
              </a:gsLst>
              <a:lin ang="54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12" tIns="304709" rIns="91412" bIns="45707"/>
          <a:lstStyle/>
          <a:p>
            <a:pPr marL="0" marR="0" lvl="0" indent="0" algn="ctr" defTabSz="914234" rtl="0" eaLnBrk="1" fontAlgn="auto" latinLnBrk="0" hangingPunct="1">
              <a:lnSpc>
                <a:spcPct val="80000"/>
              </a:lnSpc>
              <a:spcBef>
                <a:spcPts val="0"/>
              </a:spcBef>
              <a:spcAft>
                <a:spcPts val="0"/>
              </a:spcAft>
              <a:buClr>
                <a:srgbClr val="FFFF99"/>
              </a:buClr>
              <a:buSzPct val="120000"/>
              <a:buFontTx/>
              <a:buNone/>
              <a:tabLst/>
              <a:defRPr/>
            </a:pPr>
            <a:endParaRPr kumimoji="0" lang="en-US" altLang="zh-CN" sz="5500" b="0" i="0" u="none" strike="noStrike" kern="1200" cap="none" spc="-125" normalizeH="0" baseline="0" noProof="0" dirty="0">
              <a:ln w="18415" cmpd="sng">
                <a:noFill/>
                <a:prstDash val="solid"/>
              </a:ln>
              <a:solidFill>
                <a:prstClr val="black"/>
              </a:solidFill>
              <a:effectLst>
                <a:glow rad="101600">
                  <a:srgbClr val="CCECFF"/>
                </a:glow>
                <a:innerShdw blurRad="114300">
                  <a:prstClr val="black"/>
                </a:innerShdw>
              </a:effectLst>
              <a:uLnTx/>
              <a:uFillTx/>
              <a:latin typeface="Calibri"/>
              <a:ea typeface="宋体" panose="02010600030101010101" pitchFamily="2" charset="-122"/>
              <a:cs typeface="+mn-cs"/>
            </a:endParaRPr>
          </a:p>
        </p:txBody>
      </p:sp>
      <p:sp>
        <p:nvSpPr>
          <p:cNvPr id="2" name="Title 1"/>
          <p:cNvSpPr>
            <a:spLocks noGrp="1"/>
          </p:cNvSpPr>
          <p:nvPr>
            <p:ph type="title"/>
          </p:nvPr>
        </p:nvSpPr>
        <p:spPr>
          <a:xfrm>
            <a:off x="1865314" y="304800"/>
            <a:ext cx="8364537" cy="554038"/>
          </a:xfrm>
        </p:spPr>
        <p:txBody>
          <a:bodyPr>
            <a:normAutofit fontScale="90000"/>
          </a:bodyPr>
          <a:lstStyle/>
          <a:p>
            <a:pPr>
              <a:defRPr/>
            </a:pPr>
            <a:r>
              <a:rPr sz="4000" dirty="0">
                <a:solidFill>
                  <a:srgbClr val="666699"/>
                </a:solidFill>
              </a:rPr>
              <a:t>Economics of Single -Tenancy</a:t>
            </a:r>
          </a:p>
        </p:txBody>
      </p:sp>
      <p:grpSp>
        <p:nvGrpSpPr>
          <p:cNvPr id="24582" name="Group 15"/>
          <p:cNvGrpSpPr>
            <a:grpSpLocks/>
          </p:cNvGrpSpPr>
          <p:nvPr/>
        </p:nvGrpSpPr>
        <p:grpSpPr bwMode="auto">
          <a:xfrm>
            <a:off x="5338764" y="2047875"/>
            <a:ext cx="1106487" cy="2865438"/>
            <a:chOff x="4338336" y="1575666"/>
            <a:chExt cx="1107570" cy="2865478"/>
          </a:xfrm>
        </p:grpSpPr>
        <p:grpSp>
          <p:nvGrpSpPr>
            <p:cNvPr id="24620" name="Group 4"/>
            <p:cNvGrpSpPr>
              <a:grpSpLocks/>
            </p:cNvGrpSpPr>
            <p:nvPr/>
          </p:nvGrpSpPr>
          <p:grpSpPr bwMode="auto">
            <a:xfrm>
              <a:off x="4338336" y="2383543"/>
              <a:ext cx="1107570" cy="938804"/>
              <a:chOff x="4343340" y="2383543"/>
              <a:chExt cx="1107570" cy="938804"/>
            </a:xfrm>
          </p:grpSpPr>
          <p:pic>
            <p:nvPicPr>
              <p:cNvPr id="24632" name="Picture 5" descr="C:\Users\tobrien.REDMOND\Pictures\DVD_ART36\Artwork_Imagery\Shapes\Boxes\Rectangles misc\application boxes gree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4427723" y="2299160"/>
                <a:ext cx="938804" cy="110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33" name="TextBox 30"/>
              <p:cNvSpPr txBox="1">
                <a:spLocks noChangeArrowheads="1"/>
              </p:cNvSpPr>
              <p:nvPr/>
            </p:nvSpPr>
            <p:spPr bwMode="auto">
              <a:xfrm>
                <a:off x="4536273" y="2717509"/>
                <a:ext cx="703719"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Instance</a:t>
                </a:r>
              </a:p>
            </p:txBody>
          </p:sp>
        </p:grpSp>
        <p:grpSp>
          <p:nvGrpSpPr>
            <p:cNvPr id="24621" name="Group 48"/>
            <p:cNvGrpSpPr>
              <a:grpSpLocks/>
            </p:cNvGrpSpPr>
            <p:nvPr/>
          </p:nvGrpSpPr>
          <p:grpSpPr bwMode="auto">
            <a:xfrm>
              <a:off x="4371094" y="1575666"/>
              <a:ext cx="1042054" cy="820389"/>
              <a:chOff x="3105168" y="1895089"/>
              <a:chExt cx="1389044" cy="964038"/>
            </a:xfrm>
          </p:grpSpPr>
          <p:pic>
            <p:nvPicPr>
              <p:cNvPr id="24630" name="Picture 8" descr="C:\Users\tobrien.REDMOND\Pictures\DVD_ART36\Artwork_Imagery\Shapes\Boxes\Rectangles misc\legend gray 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05168" y="1895089"/>
                <a:ext cx="1389044" cy="96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50"/>
              <p:cNvSpPr txBox="1"/>
              <p:nvPr/>
            </p:nvSpPr>
            <p:spPr>
              <a:xfrm>
                <a:off x="3474280" y="2238607"/>
                <a:ext cx="639095" cy="260404"/>
              </a:xfrm>
              <a:prstGeom prst="rect">
                <a:avLst/>
              </a:prstGeom>
              <a:noFill/>
            </p:spPr>
            <p:txBody>
              <a:bodyPr wrap="non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prstClr val="black"/>
                        </a:gs>
                        <a:gs pos="86000">
                          <a:prstClr val="black"/>
                        </a:gs>
                      </a:gsLst>
                      <a:lin ang="5400000" scaled="0"/>
                    </a:gradFill>
                    <a:effectLst>
                      <a:outerShdw blurRad="38100" dist="38100" dir="2700000" algn="tl">
                        <a:srgbClr val="000000">
                          <a:alpha val="43137"/>
                        </a:srgbClr>
                      </a:outerShdw>
                    </a:effectLst>
                    <a:uLnTx/>
                    <a:uFillTx/>
                    <a:latin typeface="Calibri"/>
                    <a:ea typeface="+mn-ea"/>
                    <a:cs typeface="+mn-cs"/>
                  </a:rPr>
                  <a:t>Client</a:t>
                </a:r>
              </a:p>
            </p:txBody>
          </p:sp>
        </p:grpSp>
        <p:grpSp>
          <p:nvGrpSpPr>
            <p:cNvPr id="24622" name="Group 7"/>
            <p:cNvGrpSpPr>
              <a:grpSpLocks/>
            </p:cNvGrpSpPr>
            <p:nvPr/>
          </p:nvGrpSpPr>
          <p:grpSpPr bwMode="auto">
            <a:xfrm>
              <a:off x="4419240" y="3377820"/>
              <a:ext cx="945762" cy="438150"/>
              <a:chOff x="4332682" y="3377820"/>
              <a:chExt cx="945762" cy="438150"/>
            </a:xfrm>
          </p:grpSpPr>
          <p:pic>
            <p:nvPicPr>
              <p:cNvPr id="24627"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2682"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28"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9819"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29"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6956"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623" name="TextBox 63"/>
            <p:cNvSpPr txBox="1">
              <a:spLocks noChangeArrowheads="1"/>
            </p:cNvSpPr>
            <p:nvPr/>
          </p:nvSpPr>
          <p:spPr bwMode="auto">
            <a:xfrm>
              <a:off x="4571521" y="3815970"/>
              <a:ext cx="641201"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Admins</a:t>
              </a:r>
            </a:p>
          </p:txBody>
        </p:sp>
        <p:grpSp>
          <p:nvGrpSpPr>
            <p:cNvPr id="24624" name="Group 10"/>
            <p:cNvGrpSpPr>
              <a:grpSpLocks/>
            </p:cNvGrpSpPr>
            <p:nvPr/>
          </p:nvGrpSpPr>
          <p:grpSpPr bwMode="auto">
            <a:xfrm>
              <a:off x="4338336" y="4107178"/>
              <a:ext cx="1107570" cy="333966"/>
              <a:chOff x="4304364" y="4131736"/>
              <a:chExt cx="1107570" cy="333966"/>
            </a:xfrm>
          </p:grpSpPr>
          <p:pic>
            <p:nvPicPr>
              <p:cNvPr id="24625" name="Picture 5" descr="C:\Users\tobrien.REDMOND\Pictures\DVD_ART36\Artwork_Imagery\Shapes\Boxes\Rectangles misc\application boxes gree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4691166" y="3744934"/>
                <a:ext cx="333966" cy="110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26" name="TextBox 66"/>
              <p:cNvSpPr txBox="1">
                <a:spLocks noChangeArrowheads="1"/>
              </p:cNvSpPr>
              <p:nvPr/>
            </p:nvSpPr>
            <p:spPr bwMode="auto">
              <a:xfrm>
                <a:off x="4437553" y="4201770"/>
                <a:ext cx="841192"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Resources</a:t>
                </a:r>
              </a:p>
            </p:txBody>
          </p:sp>
        </p:grpSp>
      </p:grpSp>
      <p:grpSp>
        <p:nvGrpSpPr>
          <p:cNvPr id="24583" name="Group 14"/>
          <p:cNvGrpSpPr>
            <a:grpSpLocks/>
          </p:cNvGrpSpPr>
          <p:nvPr/>
        </p:nvGrpSpPr>
        <p:grpSpPr bwMode="auto">
          <a:xfrm>
            <a:off x="4010025" y="2047876"/>
            <a:ext cx="1201738" cy="2913063"/>
            <a:chOff x="3132602" y="1575666"/>
            <a:chExt cx="1200571" cy="2913532"/>
          </a:xfrm>
        </p:grpSpPr>
        <p:grpSp>
          <p:nvGrpSpPr>
            <p:cNvPr id="24606" name="Group 9"/>
            <p:cNvGrpSpPr>
              <a:grpSpLocks/>
            </p:cNvGrpSpPr>
            <p:nvPr/>
          </p:nvGrpSpPr>
          <p:grpSpPr bwMode="auto">
            <a:xfrm>
              <a:off x="3132602" y="2345344"/>
              <a:ext cx="1200571" cy="1029391"/>
              <a:chOff x="3150886" y="2345344"/>
              <a:chExt cx="1200571" cy="1029391"/>
            </a:xfrm>
          </p:grpSpPr>
          <p:pic>
            <p:nvPicPr>
              <p:cNvPr id="24618" name="Picture 3" descr="C:\Users\tobrien.REDMOND\Pictures\DVD_ART36\Artwork_Imagery\Shapes\Boxes\Rectangles misc\application boxes re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3236476" y="2259754"/>
                <a:ext cx="1029391" cy="120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19" name="TextBox 29"/>
              <p:cNvSpPr txBox="1">
                <a:spLocks noChangeArrowheads="1"/>
              </p:cNvSpPr>
              <p:nvPr/>
            </p:nvSpPr>
            <p:spPr bwMode="auto">
              <a:xfrm>
                <a:off x="3400984" y="2717509"/>
                <a:ext cx="703719"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Instance</a:t>
                </a:r>
              </a:p>
            </p:txBody>
          </p:sp>
        </p:grpSp>
        <p:grpSp>
          <p:nvGrpSpPr>
            <p:cNvPr id="24607" name="Group 45"/>
            <p:cNvGrpSpPr>
              <a:grpSpLocks/>
            </p:cNvGrpSpPr>
            <p:nvPr/>
          </p:nvGrpSpPr>
          <p:grpSpPr bwMode="auto">
            <a:xfrm>
              <a:off x="3211860" y="1575666"/>
              <a:ext cx="1042054" cy="820389"/>
              <a:chOff x="3105168" y="1895089"/>
              <a:chExt cx="1389044" cy="964038"/>
            </a:xfrm>
          </p:grpSpPr>
          <p:pic>
            <p:nvPicPr>
              <p:cNvPr id="24616" name="Picture 8" descr="C:\Users\tobrien.REDMOND\Pictures\DVD_ART36\Artwork_Imagery\Shapes\Boxes\Rectangles misc\legend gray 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05168" y="1895089"/>
                <a:ext cx="1389044" cy="96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47"/>
              <p:cNvSpPr txBox="1"/>
              <p:nvPr/>
            </p:nvSpPr>
            <p:spPr>
              <a:xfrm>
                <a:off x="3474280" y="2238607"/>
                <a:ext cx="637850" cy="260443"/>
              </a:xfrm>
              <a:prstGeom prst="rect">
                <a:avLst/>
              </a:prstGeom>
              <a:noFill/>
            </p:spPr>
            <p:txBody>
              <a:bodyPr wrap="non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prstClr val="black"/>
                        </a:gs>
                        <a:gs pos="86000">
                          <a:prstClr val="black"/>
                        </a:gs>
                      </a:gsLst>
                      <a:lin ang="5400000" scaled="0"/>
                    </a:gradFill>
                    <a:effectLst>
                      <a:outerShdw blurRad="38100" dist="38100" dir="2700000" algn="tl">
                        <a:srgbClr val="000000">
                          <a:alpha val="43137"/>
                        </a:srgbClr>
                      </a:outerShdw>
                    </a:effectLst>
                    <a:uLnTx/>
                    <a:uFillTx/>
                    <a:latin typeface="Calibri"/>
                    <a:ea typeface="+mn-ea"/>
                    <a:cs typeface="+mn-cs"/>
                  </a:rPr>
                  <a:t>Client</a:t>
                </a:r>
              </a:p>
            </p:txBody>
          </p:sp>
        </p:grpSp>
        <p:grpSp>
          <p:nvGrpSpPr>
            <p:cNvPr id="24608" name="Group 6"/>
            <p:cNvGrpSpPr>
              <a:grpSpLocks/>
            </p:cNvGrpSpPr>
            <p:nvPr/>
          </p:nvGrpSpPr>
          <p:grpSpPr bwMode="auto">
            <a:xfrm>
              <a:off x="3260006" y="3377820"/>
              <a:ext cx="945762" cy="438150"/>
              <a:chOff x="3345501" y="3377820"/>
              <a:chExt cx="945762" cy="438150"/>
            </a:xfrm>
          </p:grpSpPr>
          <p:pic>
            <p:nvPicPr>
              <p:cNvPr id="24613"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5501"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4"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2638"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5"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9775"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609" name="TextBox 44"/>
            <p:cNvSpPr txBox="1">
              <a:spLocks noChangeArrowheads="1"/>
            </p:cNvSpPr>
            <p:nvPr/>
          </p:nvSpPr>
          <p:spPr bwMode="auto">
            <a:xfrm>
              <a:off x="3412287" y="3815970"/>
              <a:ext cx="641201"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Admins</a:t>
              </a:r>
            </a:p>
          </p:txBody>
        </p:sp>
        <p:grpSp>
          <p:nvGrpSpPr>
            <p:cNvPr id="24610" name="Group 11"/>
            <p:cNvGrpSpPr>
              <a:grpSpLocks/>
            </p:cNvGrpSpPr>
            <p:nvPr/>
          </p:nvGrpSpPr>
          <p:grpSpPr bwMode="auto">
            <a:xfrm>
              <a:off x="3132602" y="4059124"/>
              <a:ext cx="1200571" cy="430074"/>
              <a:chOff x="3114318" y="4037436"/>
              <a:chExt cx="1200571" cy="430074"/>
            </a:xfrm>
          </p:grpSpPr>
          <p:pic>
            <p:nvPicPr>
              <p:cNvPr id="24611" name="Picture 3" descr="C:\Users\tobrien.REDMOND\Pictures\DVD_ART36\Artwork_Imagery\Shapes\Boxes\Rectangles misc\application boxes re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3499567" y="3652187"/>
                <a:ext cx="430074" cy="120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12" name="TextBox 69"/>
              <p:cNvSpPr txBox="1">
                <a:spLocks noChangeArrowheads="1"/>
              </p:cNvSpPr>
              <p:nvPr/>
            </p:nvSpPr>
            <p:spPr bwMode="auto">
              <a:xfrm>
                <a:off x="3294008" y="4155523"/>
                <a:ext cx="841192"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Resources</a:t>
                </a:r>
              </a:p>
            </p:txBody>
          </p:sp>
        </p:grpSp>
      </p:grpSp>
      <p:grpSp>
        <p:nvGrpSpPr>
          <p:cNvPr id="24584" name="Group 13"/>
          <p:cNvGrpSpPr>
            <a:grpSpLocks/>
          </p:cNvGrpSpPr>
          <p:nvPr/>
        </p:nvGrpSpPr>
        <p:grpSpPr bwMode="auto">
          <a:xfrm>
            <a:off x="2841625" y="2036763"/>
            <a:ext cx="1041400" cy="2874962"/>
            <a:chOff x="1841720" y="1565755"/>
            <a:chExt cx="1042054" cy="2873555"/>
          </a:xfrm>
        </p:grpSpPr>
        <p:grpSp>
          <p:nvGrpSpPr>
            <p:cNvPr id="24592" name="Group 8"/>
            <p:cNvGrpSpPr>
              <a:grpSpLocks/>
            </p:cNvGrpSpPr>
            <p:nvPr/>
          </p:nvGrpSpPr>
          <p:grpSpPr bwMode="auto">
            <a:xfrm>
              <a:off x="1885055" y="2428026"/>
              <a:ext cx="955384" cy="790572"/>
              <a:chOff x="1946674" y="2428026"/>
              <a:chExt cx="955384" cy="790572"/>
            </a:xfrm>
          </p:grpSpPr>
          <p:pic>
            <p:nvPicPr>
              <p:cNvPr id="24604" name="Picture 4" descr="C:\Users\tobrien.REDMOND\Pictures\DVD_ART36\Artwork_Imagery\Shapes\Boxes\Rectangles misc\application boxes whit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400000">
                <a:off x="2029080" y="2345620"/>
                <a:ext cx="790572" cy="955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605" name="TextBox 24"/>
              <p:cNvSpPr txBox="1">
                <a:spLocks noChangeArrowheads="1"/>
              </p:cNvSpPr>
              <p:nvPr/>
            </p:nvSpPr>
            <p:spPr bwMode="auto">
              <a:xfrm>
                <a:off x="2069938" y="2730972"/>
                <a:ext cx="703719"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Instance</a:t>
                </a:r>
              </a:p>
            </p:txBody>
          </p:sp>
        </p:grpSp>
        <p:grpSp>
          <p:nvGrpSpPr>
            <p:cNvPr id="24593" name="Group 37"/>
            <p:cNvGrpSpPr>
              <a:grpSpLocks/>
            </p:cNvGrpSpPr>
            <p:nvPr/>
          </p:nvGrpSpPr>
          <p:grpSpPr bwMode="auto">
            <a:xfrm>
              <a:off x="1841720" y="1565755"/>
              <a:ext cx="1042054" cy="820389"/>
              <a:chOff x="3105168" y="1895089"/>
              <a:chExt cx="1389044" cy="964038"/>
            </a:xfrm>
          </p:grpSpPr>
          <p:pic>
            <p:nvPicPr>
              <p:cNvPr id="24602" name="Picture 8" descr="C:\Users\tobrien.REDMOND\Pictures\DVD_ART36\Artwork_Imagery\Shapes\Boxes\Rectangles misc\legend gray shado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05168" y="1895089"/>
                <a:ext cx="1389044" cy="96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p:cNvSpPr txBox="1"/>
              <p:nvPr/>
            </p:nvSpPr>
            <p:spPr>
              <a:xfrm>
                <a:off x="3474280" y="2238606"/>
                <a:ext cx="638871" cy="260273"/>
              </a:xfrm>
              <a:prstGeom prst="rect">
                <a:avLst/>
              </a:prstGeom>
              <a:noFill/>
            </p:spPr>
            <p:txBody>
              <a:bodyPr wrap="non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prstClr val="black"/>
                        </a:gs>
                        <a:gs pos="86000">
                          <a:prstClr val="black"/>
                        </a:gs>
                      </a:gsLst>
                      <a:lin ang="5400000" scaled="0"/>
                    </a:gradFill>
                    <a:effectLst>
                      <a:outerShdw blurRad="38100" dist="38100" dir="2700000" algn="tl">
                        <a:srgbClr val="000000">
                          <a:alpha val="43137"/>
                        </a:srgbClr>
                      </a:outerShdw>
                    </a:effectLst>
                    <a:uLnTx/>
                    <a:uFillTx/>
                    <a:latin typeface="Calibri"/>
                    <a:ea typeface="+mn-ea"/>
                    <a:cs typeface="+mn-cs"/>
                  </a:rPr>
                  <a:t>Client</a:t>
                </a:r>
              </a:p>
            </p:txBody>
          </p:sp>
        </p:grpSp>
        <p:grpSp>
          <p:nvGrpSpPr>
            <p:cNvPr id="24594" name="Group 5"/>
            <p:cNvGrpSpPr>
              <a:grpSpLocks/>
            </p:cNvGrpSpPr>
            <p:nvPr/>
          </p:nvGrpSpPr>
          <p:grpSpPr bwMode="auto">
            <a:xfrm>
              <a:off x="1889866" y="3377820"/>
              <a:ext cx="945762" cy="438150"/>
              <a:chOff x="2407561" y="3377820"/>
              <a:chExt cx="945762" cy="438150"/>
            </a:xfrm>
          </p:grpSpPr>
          <p:pic>
            <p:nvPicPr>
              <p:cNvPr id="24599"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07561"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0"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4698"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1"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81835"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595" name="TextBox 40"/>
            <p:cNvSpPr txBox="1">
              <a:spLocks noChangeArrowheads="1"/>
            </p:cNvSpPr>
            <p:nvPr/>
          </p:nvSpPr>
          <p:spPr bwMode="auto">
            <a:xfrm>
              <a:off x="2042146" y="3815970"/>
              <a:ext cx="641201"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Admins</a:t>
              </a:r>
            </a:p>
          </p:txBody>
        </p:sp>
        <p:grpSp>
          <p:nvGrpSpPr>
            <p:cNvPr id="24596" name="Group 12"/>
            <p:cNvGrpSpPr>
              <a:grpSpLocks/>
            </p:cNvGrpSpPr>
            <p:nvPr/>
          </p:nvGrpSpPr>
          <p:grpSpPr bwMode="auto">
            <a:xfrm>
              <a:off x="1885055" y="4109013"/>
              <a:ext cx="955384" cy="330297"/>
              <a:chOff x="1908150" y="4180590"/>
              <a:chExt cx="955384" cy="330297"/>
            </a:xfrm>
          </p:grpSpPr>
          <p:pic>
            <p:nvPicPr>
              <p:cNvPr id="24597" name="Picture 4" descr="C:\Users\tobrien.REDMOND\Pictures\DVD_ART36\Artwork_Imagery\Shapes\Boxes\Rectangles misc\application boxes whit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400000">
                <a:off x="2220693" y="3868047"/>
                <a:ext cx="330297" cy="955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8" name="TextBox 70"/>
              <p:cNvSpPr txBox="1">
                <a:spLocks noChangeArrowheads="1"/>
              </p:cNvSpPr>
              <p:nvPr/>
            </p:nvSpPr>
            <p:spPr bwMode="auto">
              <a:xfrm>
                <a:off x="1965245" y="4248790"/>
                <a:ext cx="841192"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Resources</a:t>
                </a:r>
              </a:p>
            </p:txBody>
          </p:sp>
        </p:grpSp>
      </p:grpSp>
      <p:cxnSp>
        <p:nvCxnSpPr>
          <p:cNvPr id="73" name="Straight Connector 72"/>
          <p:cNvCxnSpPr/>
          <p:nvPr/>
        </p:nvCxnSpPr>
        <p:spPr>
          <a:xfrm>
            <a:off x="5224463" y="1987908"/>
            <a:ext cx="0" cy="3071682"/>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3328194" y="2745670"/>
            <a:ext cx="0"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3949700" y="1987908"/>
            <a:ext cx="0" cy="3071682"/>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24588" name="Text Placeholder 12"/>
          <p:cNvSpPr txBox="1">
            <a:spLocks/>
          </p:cNvSpPr>
          <p:nvPr/>
        </p:nvSpPr>
        <p:spPr bwMode="auto">
          <a:xfrm>
            <a:off x="2328863" y="1338263"/>
            <a:ext cx="4379912"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altLang="en-US" sz="1800" b="1" i="0" u="none" strike="noStrike" kern="1200" cap="none" spc="0" normalizeH="0" baseline="0" noProof="0" dirty="0">
                <a:ln>
                  <a:noFill/>
                </a:ln>
                <a:solidFill>
                  <a:prstClr val="black"/>
                </a:solidFill>
                <a:effectLst/>
                <a:uLnTx/>
                <a:uFillTx/>
                <a:latin typeface="Segoe UI Light" pitchFamily="34" charset="0"/>
                <a:ea typeface="+mn-ea"/>
                <a:cs typeface="Arial" pitchFamily="34" charset="0"/>
              </a:rPr>
              <a:t>SINGLE-TENANT APPLICATION</a:t>
            </a:r>
          </a:p>
        </p:txBody>
      </p:sp>
      <p:cxnSp>
        <p:nvCxnSpPr>
          <p:cNvPr id="79" name="Straight Connector 78"/>
          <p:cNvCxnSpPr/>
          <p:nvPr/>
        </p:nvCxnSpPr>
        <p:spPr>
          <a:xfrm>
            <a:off x="4614863" y="2745670"/>
            <a:ext cx="0"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900738" y="2745670"/>
            <a:ext cx="0"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82" name="Text Placeholder 2"/>
          <p:cNvSpPr txBox="1">
            <a:spLocks/>
          </p:cNvSpPr>
          <p:nvPr/>
        </p:nvSpPr>
        <p:spPr>
          <a:xfrm>
            <a:off x="7079848" y="1988828"/>
            <a:ext cx="3460830" cy="2686889"/>
          </a:xfrm>
          <a:prstGeom prst="rect">
            <a:avLst/>
          </a:prstGeom>
        </p:spPr>
        <p:txBody>
          <a:bodyPr lIns="0" tIns="0" rIns="0" bIns="0">
            <a:spAutoFit/>
          </a:bodyPr>
          <a:lstStyle>
            <a:lvl1pPr marL="460375" indent="-460375" algn="l" defTabSz="914363" rtl="0" eaLnBrk="1" latinLnBrk="0" hangingPunct="1">
              <a:lnSpc>
                <a:spcPct val="90000"/>
              </a:lnSpc>
              <a:spcBef>
                <a:spcPct val="20000"/>
              </a:spcBef>
              <a:buFontTx/>
              <a:buBlip>
                <a:blip r:embed="rId8"/>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FontTx/>
              <a:buBlip>
                <a:blip r:embed="rId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FontTx/>
              <a:buBlip>
                <a:blip r:embed="rId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FontTx/>
              <a:buBlip>
                <a:blip r:embed="rId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FontTx/>
              <a:buBlip>
                <a:blip r:embed="rId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53" marR="0" lvl="0" indent="-231753" algn="l" defTabSz="182862" rtl="0" eaLnBrk="1" fontAlgn="auto" latinLnBrk="0" hangingPunct="1">
              <a:lnSpc>
                <a:spcPct val="90000"/>
              </a:lnSpc>
              <a:spcBef>
                <a:spcPts val="1800"/>
              </a:spcBef>
              <a:spcAft>
                <a:spcPts val="0"/>
              </a:spcAft>
              <a:buClrTx/>
              <a:buSzTx/>
              <a:buFontTx/>
              <a:buBlip>
                <a:blip r:embed="rId8"/>
              </a:buBlip>
              <a:tabLst/>
              <a:defRPr/>
            </a:pPr>
            <a:r>
              <a:rPr kumimoji="0" lang="en-US" sz="2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Each client has a dedicated 	instance</a:t>
            </a:r>
          </a:p>
          <a:p>
            <a:pPr marL="231753" marR="0" lvl="0" indent="-231753" algn="l" defTabSz="182862" rtl="0" eaLnBrk="1" fontAlgn="auto" latinLnBrk="0" hangingPunct="1">
              <a:lnSpc>
                <a:spcPct val="90000"/>
              </a:lnSpc>
              <a:spcBef>
                <a:spcPts val="1800"/>
              </a:spcBef>
              <a:spcAft>
                <a:spcPts val="0"/>
              </a:spcAft>
              <a:buClrTx/>
              <a:buSzTx/>
              <a:buFontTx/>
              <a:buBlip>
                <a:blip r:embed="rId8"/>
              </a:buBlip>
              <a:tabLst/>
              <a:defRPr/>
            </a:pPr>
            <a:r>
              <a:rPr kumimoji="0" lang="en-US" sz="2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Instances separately administrated</a:t>
            </a:r>
          </a:p>
          <a:p>
            <a:pPr marL="231753" marR="0" lvl="0" indent="-231753" algn="l" defTabSz="182862" rtl="0" eaLnBrk="1" fontAlgn="auto" latinLnBrk="0" hangingPunct="1">
              <a:lnSpc>
                <a:spcPct val="90000"/>
              </a:lnSpc>
              <a:spcBef>
                <a:spcPts val="1800"/>
              </a:spcBef>
              <a:spcAft>
                <a:spcPts val="0"/>
              </a:spcAft>
              <a:buClrTx/>
              <a:buSzTx/>
              <a:buFontTx/>
              <a:buBlip>
                <a:blip r:embed="rId8"/>
              </a:buBlip>
              <a:tabLst/>
              <a:defRPr/>
            </a:pPr>
            <a:r>
              <a:rPr kumimoji="0" lang="en-US" sz="2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Dedicated resources</a:t>
            </a:r>
          </a:p>
          <a:p>
            <a:pPr marL="279372" marR="0" lvl="0" indent="-279372" algn="l" defTabSz="182862" rtl="0" eaLnBrk="1" fontAlgn="auto" latinLnBrk="0" hangingPunct="1">
              <a:lnSpc>
                <a:spcPct val="90000"/>
              </a:lnSpc>
              <a:spcBef>
                <a:spcPts val="1800"/>
              </a:spcBef>
              <a:spcAft>
                <a:spcPts val="0"/>
              </a:spcAft>
              <a:buClrTx/>
              <a:buSzTx/>
              <a:buFontTx/>
              <a:buBlip>
                <a:blip r:embed="rId8"/>
              </a:buBlip>
              <a:tabLst/>
              <a:defRPr/>
            </a:pPr>
            <a:r>
              <a:rPr kumimoji="0" lang="en-US" sz="2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Costs grow with scale</a:t>
            </a:r>
          </a:p>
        </p:txBody>
      </p:sp>
    </p:spTree>
    <p:extLst>
      <p:ext uri="{BB962C8B-B14F-4D97-AF65-F5344CB8AC3E}">
        <p14:creationId xmlns:p14="http://schemas.microsoft.com/office/powerpoint/2010/main" val="1879369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bwMode="black">
          <a:xfrm>
            <a:off x="2345893" y="1647145"/>
            <a:ext cx="4500979" cy="3919326"/>
          </a:xfrm>
          <a:prstGeom prst="rect">
            <a:avLst/>
          </a:prstGeom>
          <a:gradFill flip="none" rotWithShape="1">
            <a:gsLst>
              <a:gs pos="6000">
                <a:srgbClr val="000000">
                  <a:alpha val="0"/>
                </a:srgbClr>
              </a:gs>
              <a:gs pos="38000">
                <a:srgbClr val="080808">
                  <a:alpha val="23000"/>
                </a:srgbClr>
              </a:gs>
              <a:gs pos="48000">
                <a:srgbClr val="000000">
                  <a:alpha val="48000"/>
                </a:srgbClr>
              </a:gs>
              <a:gs pos="75000">
                <a:srgbClr val="000000">
                  <a:alpha val="26000"/>
                </a:srgbClr>
              </a:gs>
              <a:gs pos="91000">
                <a:srgbClr val="FFFFFF">
                  <a:alpha val="0"/>
                </a:srgbClr>
              </a:gs>
              <a:gs pos="94000">
                <a:srgbClr val="FFFFFF">
                  <a:alpha val="7000"/>
                </a:srgbClr>
              </a:gs>
              <a:gs pos="100000">
                <a:srgbClr val="FFFFFF">
                  <a:alpha val="52000"/>
                </a:srgbClr>
              </a:gs>
            </a:gsLst>
            <a:lin ang="15600000" scaled="0"/>
            <a:tileRect/>
          </a:gradFill>
          <a:ln w="9525">
            <a:gradFill>
              <a:gsLst>
                <a:gs pos="0">
                  <a:srgbClr val="FFFFFF">
                    <a:alpha val="28000"/>
                  </a:srgbClr>
                </a:gs>
                <a:gs pos="50000">
                  <a:srgbClr val="FFFFFF">
                    <a:alpha val="68000"/>
                  </a:srgbClr>
                </a:gs>
                <a:gs pos="100000">
                  <a:srgbClr val="FFFFFF">
                    <a:alpha val="31000"/>
                  </a:srgbClr>
                </a:gs>
              </a:gsLst>
              <a:lin ang="54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12" tIns="304709" rIns="91412" bIns="45707"/>
          <a:lstStyle/>
          <a:p>
            <a:pPr marL="0" marR="0" lvl="0" indent="0" algn="ctr" defTabSz="914234" rtl="0" eaLnBrk="1" fontAlgn="auto" latinLnBrk="0" hangingPunct="1">
              <a:lnSpc>
                <a:spcPct val="80000"/>
              </a:lnSpc>
              <a:spcBef>
                <a:spcPts val="0"/>
              </a:spcBef>
              <a:spcAft>
                <a:spcPts val="0"/>
              </a:spcAft>
              <a:buClr>
                <a:srgbClr val="FFFF99"/>
              </a:buClr>
              <a:buSzPct val="120000"/>
              <a:buFontTx/>
              <a:buNone/>
              <a:tabLst/>
              <a:defRPr/>
            </a:pPr>
            <a:endParaRPr kumimoji="0" lang="en-US" altLang="zh-CN" sz="5500" b="0" i="0" u="none" strike="noStrike" kern="1200" cap="none" spc="-125" normalizeH="0" baseline="0" noProof="0" dirty="0">
              <a:ln w="18415" cmpd="sng">
                <a:noFill/>
                <a:prstDash val="solid"/>
              </a:ln>
              <a:solidFill>
                <a:prstClr val="black"/>
              </a:solidFill>
              <a:effectLst>
                <a:glow rad="101600">
                  <a:srgbClr val="CCECFF"/>
                </a:glow>
                <a:innerShdw blurRad="114300">
                  <a:prstClr val="black"/>
                </a:innerShdw>
              </a:effectLst>
              <a:uLnTx/>
              <a:uFillTx/>
              <a:latin typeface="Calibri"/>
              <a:ea typeface="宋体" panose="02010600030101010101" pitchFamily="2" charset="-122"/>
              <a:cs typeface="+mn-cs"/>
            </a:endParaRPr>
          </a:p>
        </p:txBody>
      </p:sp>
      <p:sp>
        <p:nvSpPr>
          <p:cNvPr id="2" name="Title 1"/>
          <p:cNvSpPr>
            <a:spLocks noGrp="1"/>
          </p:cNvSpPr>
          <p:nvPr>
            <p:ph type="title"/>
          </p:nvPr>
        </p:nvSpPr>
        <p:spPr>
          <a:xfrm>
            <a:off x="1865314" y="304800"/>
            <a:ext cx="8364537" cy="554038"/>
          </a:xfrm>
        </p:spPr>
        <p:txBody>
          <a:bodyPr>
            <a:normAutofit fontScale="90000"/>
          </a:bodyPr>
          <a:lstStyle/>
          <a:p>
            <a:pPr>
              <a:defRPr/>
            </a:pPr>
            <a:r>
              <a:rPr sz="4000" dirty="0">
                <a:solidFill>
                  <a:srgbClr val="666699"/>
                </a:solidFill>
              </a:rPr>
              <a:t>Economics of Multi-Tenancy</a:t>
            </a:r>
          </a:p>
        </p:txBody>
      </p:sp>
      <p:grpSp>
        <p:nvGrpSpPr>
          <p:cNvPr id="25606" name="Group 48"/>
          <p:cNvGrpSpPr>
            <a:grpSpLocks/>
          </p:cNvGrpSpPr>
          <p:nvPr/>
        </p:nvGrpSpPr>
        <p:grpSpPr bwMode="auto">
          <a:xfrm>
            <a:off x="5370514" y="2047875"/>
            <a:ext cx="1042987" cy="819150"/>
            <a:chOff x="3105168" y="1895089"/>
            <a:chExt cx="1389044" cy="964038"/>
          </a:xfrm>
        </p:grpSpPr>
        <p:pic>
          <p:nvPicPr>
            <p:cNvPr id="25659" name="Picture 8" descr="C:\Users\tobrien.REDMOND\Pictures\DVD_ART36\Artwork_Imagery\Shapes\Boxes\Rectangles misc\legend gray shadow.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5168" y="1895089"/>
              <a:ext cx="1389044" cy="96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50"/>
            <p:cNvSpPr txBox="1"/>
            <p:nvPr/>
          </p:nvSpPr>
          <p:spPr>
            <a:xfrm>
              <a:off x="3474280" y="2238607"/>
              <a:ext cx="637899" cy="260795"/>
            </a:xfrm>
            <a:prstGeom prst="rect">
              <a:avLst/>
            </a:prstGeom>
            <a:noFill/>
          </p:spPr>
          <p:txBody>
            <a:bodyPr wrap="non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prstClr val="black"/>
                      </a:gs>
                      <a:gs pos="86000">
                        <a:prstClr val="black"/>
                      </a:gs>
                    </a:gsLst>
                    <a:lin ang="5400000" scaled="0"/>
                  </a:gradFill>
                  <a:effectLst>
                    <a:outerShdw blurRad="38100" dist="38100" dir="2700000" algn="tl">
                      <a:srgbClr val="000000">
                        <a:alpha val="43137"/>
                      </a:srgbClr>
                    </a:outerShdw>
                  </a:effectLst>
                  <a:uLnTx/>
                  <a:uFillTx/>
                  <a:latin typeface="Calibri"/>
                  <a:ea typeface="+mn-ea"/>
                  <a:cs typeface="+mn-cs"/>
                </a:rPr>
                <a:t>Client</a:t>
              </a:r>
            </a:p>
          </p:txBody>
        </p:sp>
      </p:grpSp>
      <p:grpSp>
        <p:nvGrpSpPr>
          <p:cNvPr id="4" name="Group 3"/>
          <p:cNvGrpSpPr>
            <a:grpSpLocks/>
          </p:cNvGrpSpPr>
          <p:nvPr/>
        </p:nvGrpSpPr>
        <p:grpSpPr bwMode="auto">
          <a:xfrm>
            <a:off x="5338764" y="2855913"/>
            <a:ext cx="1106487" cy="2057400"/>
            <a:chOff x="3814188" y="2855263"/>
            <a:chExt cx="1107570" cy="2057601"/>
          </a:xfrm>
        </p:grpSpPr>
        <p:grpSp>
          <p:nvGrpSpPr>
            <p:cNvPr id="25648" name="Group 4"/>
            <p:cNvGrpSpPr>
              <a:grpSpLocks/>
            </p:cNvGrpSpPr>
            <p:nvPr/>
          </p:nvGrpSpPr>
          <p:grpSpPr bwMode="auto">
            <a:xfrm>
              <a:off x="3814188" y="2855263"/>
              <a:ext cx="1107570" cy="938804"/>
              <a:chOff x="4343340" y="2383543"/>
              <a:chExt cx="1107570" cy="938804"/>
            </a:xfrm>
          </p:grpSpPr>
          <p:pic>
            <p:nvPicPr>
              <p:cNvPr id="25657" name="Picture 5" descr="C:\Users\tobrien.REDMOND\Pictures\DVD_ART36\Artwork_Imagery\Shapes\Boxes\Rectangles misc\application boxes gree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427723" y="2299160"/>
                <a:ext cx="938804" cy="110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58" name="TextBox 30"/>
              <p:cNvSpPr txBox="1">
                <a:spLocks noChangeArrowheads="1"/>
              </p:cNvSpPr>
              <p:nvPr/>
            </p:nvSpPr>
            <p:spPr bwMode="auto">
              <a:xfrm>
                <a:off x="4536273" y="2717509"/>
                <a:ext cx="703719"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Instance</a:t>
                </a:r>
              </a:p>
            </p:txBody>
          </p:sp>
        </p:grpSp>
        <p:grpSp>
          <p:nvGrpSpPr>
            <p:cNvPr id="25649" name="Group 7"/>
            <p:cNvGrpSpPr>
              <a:grpSpLocks/>
            </p:cNvGrpSpPr>
            <p:nvPr/>
          </p:nvGrpSpPr>
          <p:grpSpPr bwMode="auto">
            <a:xfrm>
              <a:off x="3895092" y="3849540"/>
              <a:ext cx="945762" cy="438150"/>
              <a:chOff x="4332682" y="3377820"/>
              <a:chExt cx="945762" cy="438150"/>
            </a:xfrm>
          </p:grpSpPr>
          <p:pic>
            <p:nvPicPr>
              <p:cNvPr id="25654"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2682"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55"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9819"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56"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6956"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650" name="TextBox 63"/>
            <p:cNvSpPr txBox="1">
              <a:spLocks noChangeArrowheads="1"/>
            </p:cNvSpPr>
            <p:nvPr/>
          </p:nvSpPr>
          <p:spPr bwMode="auto">
            <a:xfrm>
              <a:off x="4047373" y="4287690"/>
              <a:ext cx="641201"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Admins</a:t>
              </a:r>
            </a:p>
          </p:txBody>
        </p:sp>
        <p:grpSp>
          <p:nvGrpSpPr>
            <p:cNvPr id="25651" name="Group 10"/>
            <p:cNvGrpSpPr>
              <a:grpSpLocks/>
            </p:cNvGrpSpPr>
            <p:nvPr/>
          </p:nvGrpSpPr>
          <p:grpSpPr bwMode="auto">
            <a:xfrm>
              <a:off x="3814188" y="4578898"/>
              <a:ext cx="1107570" cy="333966"/>
              <a:chOff x="4304364" y="4131736"/>
              <a:chExt cx="1107570" cy="333966"/>
            </a:xfrm>
          </p:grpSpPr>
          <p:pic>
            <p:nvPicPr>
              <p:cNvPr id="25652" name="Picture 5" descr="C:\Users\tobrien.REDMOND\Pictures\DVD_ART36\Artwork_Imagery\Shapes\Boxes\Rectangles misc\application boxes gree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691166" y="3744934"/>
                <a:ext cx="333966" cy="1107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53" name="TextBox 66"/>
              <p:cNvSpPr txBox="1">
                <a:spLocks noChangeArrowheads="1"/>
              </p:cNvSpPr>
              <p:nvPr/>
            </p:nvSpPr>
            <p:spPr bwMode="auto">
              <a:xfrm>
                <a:off x="4437553" y="4201770"/>
                <a:ext cx="841192"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Resources</a:t>
                </a:r>
              </a:p>
            </p:txBody>
          </p:sp>
        </p:grpSp>
      </p:grpSp>
      <p:grpSp>
        <p:nvGrpSpPr>
          <p:cNvPr id="25608" name="Group 45"/>
          <p:cNvGrpSpPr>
            <a:grpSpLocks/>
          </p:cNvGrpSpPr>
          <p:nvPr/>
        </p:nvGrpSpPr>
        <p:grpSpPr bwMode="auto">
          <a:xfrm>
            <a:off x="4089400" y="2047875"/>
            <a:ext cx="1042988" cy="819150"/>
            <a:chOff x="3105168" y="1895089"/>
            <a:chExt cx="1389044" cy="964038"/>
          </a:xfrm>
        </p:grpSpPr>
        <p:pic>
          <p:nvPicPr>
            <p:cNvPr id="25646" name="Picture 8" descr="C:\Users\tobrien.REDMOND\Pictures\DVD_ART36\Artwork_Imagery\Shapes\Boxes\Rectangles misc\legend gray shadow.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5168" y="1895089"/>
              <a:ext cx="1389044" cy="96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47"/>
            <p:cNvSpPr txBox="1"/>
            <p:nvPr/>
          </p:nvSpPr>
          <p:spPr>
            <a:xfrm>
              <a:off x="3474280" y="2238607"/>
              <a:ext cx="637898" cy="260795"/>
            </a:xfrm>
            <a:prstGeom prst="rect">
              <a:avLst/>
            </a:prstGeom>
            <a:noFill/>
          </p:spPr>
          <p:txBody>
            <a:bodyPr wrap="non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prstClr val="black"/>
                      </a:gs>
                      <a:gs pos="86000">
                        <a:prstClr val="black"/>
                      </a:gs>
                    </a:gsLst>
                    <a:lin ang="5400000" scaled="0"/>
                  </a:gradFill>
                  <a:effectLst>
                    <a:outerShdw blurRad="38100" dist="38100" dir="2700000" algn="tl">
                      <a:srgbClr val="000000">
                        <a:alpha val="43137"/>
                      </a:srgbClr>
                    </a:outerShdw>
                  </a:effectLst>
                  <a:uLnTx/>
                  <a:uFillTx/>
                  <a:latin typeface="Calibri"/>
                  <a:ea typeface="+mn-ea"/>
                  <a:cs typeface="+mn-cs"/>
                </a:rPr>
                <a:t>Client</a:t>
              </a:r>
            </a:p>
          </p:txBody>
        </p:sp>
      </p:grpSp>
      <p:grpSp>
        <p:nvGrpSpPr>
          <p:cNvPr id="25609" name="Group 16"/>
          <p:cNvGrpSpPr>
            <a:grpSpLocks/>
          </p:cNvGrpSpPr>
          <p:nvPr/>
        </p:nvGrpSpPr>
        <p:grpSpPr bwMode="auto">
          <a:xfrm>
            <a:off x="4010025" y="2817814"/>
            <a:ext cx="1201738" cy="2143125"/>
            <a:chOff x="2486621" y="2817064"/>
            <a:chExt cx="1200571" cy="2143854"/>
          </a:xfrm>
        </p:grpSpPr>
        <p:grpSp>
          <p:nvGrpSpPr>
            <p:cNvPr id="25635" name="Group 9"/>
            <p:cNvGrpSpPr>
              <a:grpSpLocks/>
            </p:cNvGrpSpPr>
            <p:nvPr/>
          </p:nvGrpSpPr>
          <p:grpSpPr bwMode="auto">
            <a:xfrm>
              <a:off x="2486621" y="2817064"/>
              <a:ext cx="1200571" cy="1029391"/>
              <a:chOff x="3150886" y="2345344"/>
              <a:chExt cx="1200571" cy="1029391"/>
            </a:xfrm>
          </p:grpSpPr>
          <p:pic>
            <p:nvPicPr>
              <p:cNvPr id="25644" name="Picture 3" descr="C:\Users\tobrien.REDMOND\Pictures\DVD_ART36\Artwork_Imagery\Shapes\Boxes\Rectangles misc\application boxes re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3236476" y="2259754"/>
                <a:ext cx="1029391" cy="120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45" name="TextBox 29"/>
              <p:cNvSpPr txBox="1">
                <a:spLocks noChangeArrowheads="1"/>
              </p:cNvSpPr>
              <p:nvPr/>
            </p:nvSpPr>
            <p:spPr bwMode="auto">
              <a:xfrm>
                <a:off x="3400984" y="2717509"/>
                <a:ext cx="703719"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Instance</a:t>
                </a:r>
              </a:p>
            </p:txBody>
          </p:sp>
        </p:grpSp>
        <p:grpSp>
          <p:nvGrpSpPr>
            <p:cNvPr id="25636" name="Group 6"/>
            <p:cNvGrpSpPr>
              <a:grpSpLocks/>
            </p:cNvGrpSpPr>
            <p:nvPr/>
          </p:nvGrpSpPr>
          <p:grpSpPr bwMode="auto">
            <a:xfrm>
              <a:off x="2614025" y="3849540"/>
              <a:ext cx="945762" cy="438150"/>
              <a:chOff x="3345501" y="3377820"/>
              <a:chExt cx="945762" cy="438150"/>
            </a:xfrm>
          </p:grpSpPr>
          <p:pic>
            <p:nvPicPr>
              <p:cNvPr id="25641"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5501"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42"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2638"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43"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9775"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637" name="TextBox 44"/>
            <p:cNvSpPr txBox="1">
              <a:spLocks noChangeArrowheads="1"/>
            </p:cNvSpPr>
            <p:nvPr/>
          </p:nvSpPr>
          <p:spPr bwMode="auto">
            <a:xfrm>
              <a:off x="2766306" y="4287690"/>
              <a:ext cx="641201"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Admins</a:t>
              </a:r>
            </a:p>
          </p:txBody>
        </p:sp>
        <p:grpSp>
          <p:nvGrpSpPr>
            <p:cNvPr id="25638" name="Group 11"/>
            <p:cNvGrpSpPr>
              <a:grpSpLocks/>
            </p:cNvGrpSpPr>
            <p:nvPr/>
          </p:nvGrpSpPr>
          <p:grpSpPr bwMode="auto">
            <a:xfrm>
              <a:off x="2486621" y="4530844"/>
              <a:ext cx="1200571" cy="430074"/>
              <a:chOff x="3114318" y="4037436"/>
              <a:chExt cx="1200571" cy="430074"/>
            </a:xfrm>
          </p:grpSpPr>
          <p:pic>
            <p:nvPicPr>
              <p:cNvPr id="25639" name="Picture 3" descr="C:\Users\tobrien.REDMOND\Pictures\DVD_ART36\Artwork_Imagery\Shapes\Boxes\Rectangles misc\application boxes re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3499567" y="3652187"/>
                <a:ext cx="430074" cy="120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40" name="TextBox 69"/>
              <p:cNvSpPr txBox="1">
                <a:spLocks noChangeArrowheads="1"/>
              </p:cNvSpPr>
              <p:nvPr/>
            </p:nvSpPr>
            <p:spPr bwMode="auto">
              <a:xfrm>
                <a:off x="3294008" y="4155523"/>
                <a:ext cx="841192"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Resources</a:t>
                </a:r>
              </a:p>
            </p:txBody>
          </p:sp>
        </p:grpSp>
      </p:grpSp>
      <p:grpSp>
        <p:nvGrpSpPr>
          <p:cNvPr id="25610" name="Group 37"/>
          <p:cNvGrpSpPr>
            <a:grpSpLocks/>
          </p:cNvGrpSpPr>
          <p:nvPr/>
        </p:nvGrpSpPr>
        <p:grpSpPr bwMode="auto">
          <a:xfrm>
            <a:off x="2841625" y="2036764"/>
            <a:ext cx="1041400" cy="820737"/>
            <a:chOff x="3105168" y="1895089"/>
            <a:chExt cx="1389044" cy="964038"/>
          </a:xfrm>
        </p:grpSpPr>
        <p:pic>
          <p:nvPicPr>
            <p:cNvPr id="25633" name="Picture 8" descr="C:\Users\tobrien.REDMOND\Pictures\DVD_ART36\Artwork_Imagery\Shapes\Boxes\Rectangles misc\legend gray shadow.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05168" y="1895089"/>
              <a:ext cx="1389044" cy="96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p:cNvSpPr txBox="1"/>
            <p:nvPr/>
          </p:nvSpPr>
          <p:spPr>
            <a:xfrm>
              <a:off x="3474280" y="2238607"/>
              <a:ext cx="638871" cy="260290"/>
            </a:xfrm>
            <a:prstGeom prst="rect">
              <a:avLst/>
            </a:prstGeom>
            <a:noFill/>
          </p:spPr>
          <p:txBody>
            <a:bodyPr wrap="non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prstClr val="black"/>
                      </a:gs>
                      <a:gs pos="86000">
                        <a:prstClr val="black"/>
                      </a:gs>
                    </a:gsLst>
                    <a:lin ang="5400000" scaled="0"/>
                  </a:gradFill>
                  <a:effectLst>
                    <a:outerShdw blurRad="38100" dist="38100" dir="2700000" algn="tl">
                      <a:srgbClr val="000000">
                        <a:alpha val="43137"/>
                      </a:srgbClr>
                    </a:outerShdw>
                  </a:effectLst>
                  <a:uLnTx/>
                  <a:uFillTx/>
                  <a:latin typeface="Calibri"/>
                  <a:ea typeface="+mn-ea"/>
                  <a:cs typeface="+mn-cs"/>
                </a:rPr>
                <a:t>Client</a:t>
              </a:r>
            </a:p>
          </p:txBody>
        </p:sp>
      </p:grpSp>
      <p:grpSp>
        <p:nvGrpSpPr>
          <p:cNvPr id="3" name="Group 2"/>
          <p:cNvGrpSpPr>
            <a:grpSpLocks/>
          </p:cNvGrpSpPr>
          <p:nvPr/>
        </p:nvGrpSpPr>
        <p:grpSpPr bwMode="auto">
          <a:xfrm>
            <a:off x="2884489" y="2900363"/>
            <a:ext cx="955675" cy="2011362"/>
            <a:chOff x="1360907" y="2899746"/>
            <a:chExt cx="955384" cy="2011284"/>
          </a:xfrm>
        </p:grpSpPr>
        <p:grpSp>
          <p:nvGrpSpPr>
            <p:cNvPr id="25622" name="Group 8"/>
            <p:cNvGrpSpPr>
              <a:grpSpLocks/>
            </p:cNvGrpSpPr>
            <p:nvPr/>
          </p:nvGrpSpPr>
          <p:grpSpPr bwMode="auto">
            <a:xfrm>
              <a:off x="1360907" y="2899746"/>
              <a:ext cx="955384" cy="790572"/>
              <a:chOff x="1946674" y="2428026"/>
              <a:chExt cx="955384" cy="790572"/>
            </a:xfrm>
          </p:grpSpPr>
          <p:pic>
            <p:nvPicPr>
              <p:cNvPr id="25631" name="Picture 4" descr="C:\Users\tobrien.REDMOND\Pictures\DVD_ART36\Artwork_Imagery\Shapes\Boxes\Rectangles misc\application boxes whit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400000">
                <a:off x="2029080" y="2345620"/>
                <a:ext cx="790572" cy="955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32" name="TextBox 24"/>
              <p:cNvSpPr txBox="1">
                <a:spLocks noChangeArrowheads="1"/>
              </p:cNvSpPr>
              <p:nvPr/>
            </p:nvSpPr>
            <p:spPr bwMode="auto">
              <a:xfrm>
                <a:off x="2069938" y="2730972"/>
                <a:ext cx="703719"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Instance</a:t>
                </a:r>
              </a:p>
            </p:txBody>
          </p:sp>
        </p:grpSp>
        <p:grpSp>
          <p:nvGrpSpPr>
            <p:cNvPr id="25623" name="Group 5"/>
            <p:cNvGrpSpPr>
              <a:grpSpLocks/>
            </p:cNvGrpSpPr>
            <p:nvPr/>
          </p:nvGrpSpPr>
          <p:grpSpPr bwMode="auto">
            <a:xfrm>
              <a:off x="1365718" y="3849540"/>
              <a:ext cx="945762" cy="438150"/>
              <a:chOff x="2407561" y="3377820"/>
              <a:chExt cx="945762" cy="438150"/>
            </a:xfrm>
          </p:grpSpPr>
          <p:pic>
            <p:nvPicPr>
              <p:cNvPr id="25628"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07561"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29"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4698"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30" name="Picture 2" descr="http://myconferenceline.com/images/person-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81835" y="3377820"/>
                <a:ext cx="471488"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624" name="TextBox 40"/>
            <p:cNvSpPr txBox="1">
              <a:spLocks noChangeArrowheads="1"/>
            </p:cNvSpPr>
            <p:nvPr/>
          </p:nvSpPr>
          <p:spPr bwMode="auto">
            <a:xfrm>
              <a:off x="1517998" y="4287690"/>
              <a:ext cx="641201"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Admins</a:t>
              </a:r>
            </a:p>
          </p:txBody>
        </p:sp>
        <p:grpSp>
          <p:nvGrpSpPr>
            <p:cNvPr id="25625" name="Group 12"/>
            <p:cNvGrpSpPr>
              <a:grpSpLocks/>
            </p:cNvGrpSpPr>
            <p:nvPr/>
          </p:nvGrpSpPr>
          <p:grpSpPr bwMode="auto">
            <a:xfrm>
              <a:off x="1360907" y="4580733"/>
              <a:ext cx="955384" cy="330297"/>
              <a:chOff x="1908150" y="4180590"/>
              <a:chExt cx="955384" cy="330297"/>
            </a:xfrm>
          </p:grpSpPr>
          <p:pic>
            <p:nvPicPr>
              <p:cNvPr id="25626" name="Picture 4" descr="C:\Users\tobrien.REDMOND\Pictures\DVD_ART36\Artwork_Imagery\Shapes\Boxes\Rectangles misc\application boxes whit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5400000">
                <a:off x="2220693" y="3868047"/>
                <a:ext cx="330297" cy="955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27" name="TextBox 70"/>
              <p:cNvSpPr txBox="1">
                <a:spLocks noChangeArrowheads="1"/>
              </p:cNvSpPr>
              <p:nvPr/>
            </p:nvSpPr>
            <p:spPr bwMode="auto">
              <a:xfrm>
                <a:off x="1965245" y="4248790"/>
                <a:ext cx="841192"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prstClr val="white"/>
                    </a:solidFill>
                    <a:effectLst/>
                    <a:uLnTx/>
                    <a:uFillTx/>
                    <a:latin typeface="Segoe"/>
                    <a:ea typeface="+mn-ea"/>
                    <a:cs typeface="Arial" pitchFamily="34" charset="0"/>
                  </a:rPr>
                  <a:t>Resources</a:t>
                </a:r>
              </a:p>
            </p:txBody>
          </p:sp>
        </p:grpSp>
      </p:grpSp>
      <p:sp>
        <p:nvSpPr>
          <p:cNvPr id="25612" name="Text Placeholder 12"/>
          <p:cNvSpPr txBox="1">
            <a:spLocks/>
          </p:cNvSpPr>
          <p:nvPr/>
        </p:nvSpPr>
        <p:spPr bwMode="auto">
          <a:xfrm>
            <a:off x="2328863" y="1338263"/>
            <a:ext cx="4379912"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eaLnBrk="0" hangingPunct="0">
              <a:defRPr>
                <a:solidFill>
                  <a:schemeClr val="tx1"/>
                </a:solidFill>
                <a:latin typeface="Segoe"/>
                <a:cs typeface="Arial" pitchFamily="34" charset="0"/>
              </a:defRPr>
            </a:lvl1pPr>
            <a:lvl2pPr marL="742950" indent="-285750" eaLnBrk="0" hangingPunct="0">
              <a:defRPr>
                <a:solidFill>
                  <a:schemeClr val="tx1"/>
                </a:solidFill>
                <a:latin typeface="Segoe"/>
                <a:cs typeface="Arial" pitchFamily="34" charset="0"/>
              </a:defRPr>
            </a:lvl2pPr>
            <a:lvl3pPr marL="1143000" indent="-228600" eaLnBrk="0" hangingPunct="0">
              <a:defRPr>
                <a:solidFill>
                  <a:schemeClr val="tx1"/>
                </a:solidFill>
                <a:latin typeface="Segoe"/>
                <a:cs typeface="Arial" pitchFamily="34" charset="0"/>
              </a:defRPr>
            </a:lvl3pPr>
            <a:lvl4pPr marL="1600200" indent="-228600" eaLnBrk="0" hangingPunct="0">
              <a:defRPr>
                <a:solidFill>
                  <a:schemeClr val="tx1"/>
                </a:solidFill>
                <a:latin typeface="Segoe"/>
                <a:cs typeface="Arial" pitchFamily="34" charset="0"/>
              </a:defRPr>
            </a:lvl4pPr>
            <a:lvl5pPr marL="2057400" indent="-228600" eaLnBrk="0" hangingPunct="0">
              <a:defRPr>
                <a:solidFill>
                  <a:schemeClr val="tx1"/>
                </a:solidFill>
                <a:latin typeface="Segoe"/>
                <a:cs typeface="Arial" pitchFamily="34" charset="0"/>
              </a:defRPr>
            </a:lvl5pPr>
            <a:lvl6pPr marL="2514600" indent="-228600" eaLnBrk="0" fontAlgn="base" hangingPunct="0">
              <a:spcBef>
                <a:spcPct val="0"/>
              </a:spcBef>
              <a:spcAft>
                <a:spcPct val="0"/>
              </a:spcAft>
              <a:defRPr>
                <a:solidFill>
                  <a:schemeClr val="tx1"/>
                </a:solidFill>
                <a:latin typeface="Segoe"/>
                <a:cs typeface="Arial" pitchFamily="34" charset="0"/>
              </a:defRPr>
            </a:lvl6pPr>
            <a:lvl7pPr marL="2971800" indent="-228600" eaLnBrk="0" fontAlgn="base" hangingPunct="0">
              <a:spcBef>
                <a:spcPct val="0"/>
              </a:spcBef>
              <a:spcAft>
                <a:spcPct val="0"/>
              </a:spcAft>
              <a:defRPr>
                <a:solidFill>
                  <a:schemeClr val="tx1"/>
                </a:solidFill>
                <a:latin typeface="Segoe"/>
                <a:cs typeface="Arial" pitchFamily="34" charset="0"/>
              </a:defRPr>
            </a:lvl7pPr>
            <a:lvl8pPr marL="3429000" indent="-228600" eaLnBrk="0" fontAlgn="base" hangingPunct="0">
              <a:spcBef>
                <a:spcPct val="0"/>
              </a:spcBef>
              <a:spcAft>
                <a:spcPct val="0"/>
              </a:spcAft>
              <a:defRPr>
                <a:solidFill>
                  <a:schemeClr val="tx1"/>
                </a:solidFill>
                <a:latin typeface="Segoe"/>
                <a:cs typeface="Arial" pitchFamily="34" charset="0"/>
              </a:defRPr>
            </a:lvl8pPr>
            <a:lvl9pPr marL="3886200" indent="-228600" eaLnBrk="0" fontAlgn="base" hangingPunct="0">
              <a:spcBef>
                <a:spcPct val="0"/>
              </a:spcBef>
              <a:spcAft>
                <a:spcPct val="0"/>
              </a:spcAft>
              <a:defRPr>
                <a:solidFill>
                  <a:schemeClr val="tx1"/>
                </a:solidFill>
                <a:latin typeface="Segoe"/>
                <a:cs typeface="Arial"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altLang="en-US" sz="1800" b="1" i="0" u="none" strike="noStrike" kern="1200" cap="none" spc="0" normalizeH="0" baseline="0" noProof="0" dirty="0">
                <a:ln>
                  <a:noFill/>
                </a:ln>
                <a:solidFill>
                  <a:prstClr val="black"/>
                </a:solidFill>
                <a:effectLst/>
                <a:uLnTx/>
                <a:uFillTx/>
                <a:latin typeface="Segoe UI Light" pitchFamily="34" charset="0"/>
                <a:ea typeface="+mn-ea"/>
                <a:cs typeface="Arial" pitchFamily="34" charset="0"/>
              </a:rPr>
              <a:t>MULTI-TENANT APPLICATION</a:t>
            </a:r>
          </a:p>
        </p:txBody>
      </p:sp>
      <p:cxnSp>
        <p:nvCxnSpPr>
          <p:cNvPr id="58" name="Straight Connector 57"/>
          <p:cNvCxnSpPr/>
          <p:nvPr/>
        </p:nvCxnSpPr>
        <p:spPr>
          <a:xfrm>
            <a:off x="4614863" y="2750849"/>
            <a:ext cx="0"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778619" y="2759493"/>
            <a:ext cx="311263" cy="182055"/>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106365" y="2758665"/>
            <a:ext cx="310896"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72" name="Text Placeholder 2"/>
          <p:cNvSpPr txBox="1">
            <a:spLocks/>
          </p:cNvSpPr>
          <p:nvPr/>
        </p:nvSpPr>
        <p:spPr>
          <a:xfrm>
            <a:off x="7079848" y="1994243"/>
            <a:ext cx="3460830" cy="2456057"/>
          </a:xfrm>
          <a:prstGeom prst="rect">
            <a:avLst/>
          </a:prstGeom>
        </p:spPr>
        <p:txBody>
          <a:bodyPr lIns="0" tIns="0" rIns="0" bIns="0">
            <a:spAutoFit/>
          </a:bodyPr>
          <a:lstStyle>
            <a:lvl1pPr marL="460375" indent="-460375" algn="l" defTabSz="914363" rtl="0" eaLnBrk="1" latinLnBrk="0" hangingPunct="1">
              <a:lnSpc>
                <a:spcPct val="90000"/>
              </a:lnSpc>
              <a:spcBef>
                <a:spcPct val="20000"/>
              </a:spcBef>
              <a:buFontTx/>
              <a:buBlip>
                <a:blip r:embed="rId8"/>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FontTx/>
              <a:buBlip>
                <a:blip r:embed="rId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FontTx/>
              <a:buBlip>
                <a:blip r:embed="rId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FontTx/>
              <a:buBlip>
                <a:blip r:embed="rId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FontTx/>
              <a:buBlip>
                <a:blip r:embed="rId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53" marR="0" lvl="0" indent="-231753" algn="l" defTabSz="0" rtl="0" eaLnBrk="1" fontAlgn="auto" latinLnBrk="0" hangingPunct="1">
              <a:lnSpc>
                <a:spcPct val="90000"/>
              </a:lnSpc>
              <a:spcBef>
                <a:spcPts val="1800"/>
              </a:spcBef>
              <a:spcAft>
                <a:spcPts val="0"/>
              </a:spcAft>
              <a:buClrTx/>
              <a:buSzTx/>
              <a:buFontTx/>
              <a:buBlip>
                <a:blip r:embed="rId8"/>
              </a:buBlip>
              <a:tabLst/>
              <a:defRPr/>
            </a:pPr>
            <a:r>
              <a:rPr kumimoji="0" lang="en-US" sz="2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One instance for all clients</a:t>
            </a:r>
          </a:p>
          <a:p>
            <a:pPr marL="231753" marR="0" lvl="0" indent="-231753" algn="l" defTabSz="0" rtl="0" eaLnBrk="1" fontAlgn="auto" latinLnBrk="0" hangingPunct="1">
              <a:lnSpc>
                <a:spcPct val="90000"/>
              </a:lnSpc>
              <a:spcBef>
                <a:spcPts val="1800"/>
              </a:spcBef>
              <a:spcAft>
                <a:spcPts val="0"/>
              </a:spcAft>
              <a:buClrTx/>
              <a:buSzTx/>
              <a:buFontTx/>
              <a:buBlip>
                <a:blip r:embed="rId8"/>
              </a:buBlip>
              <a:tabLst/>
              <a:defRPr/>
            </a:pPr>
            <a:r>
              <a:rPr kumimoji="0" lang="en-US" sz="2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One group of administrators</a:t>
            </a:r>
          </a:p>
          <a:p>
            <a:pPr marL="231753" marR="0" lvl="0" indent="-231753" algn="l" defTabSz="0" rtl="0" eaLnBrk="1" fontAlgn="auto" latinLnBrk="0" hangingPunct="1">
              <a:lnSpc>
                <a:spcPct val="90000"/>
              </a:lnSpc>
              <a:spcBef>
                <a:spcPts val="1800"/>
              </a:spcBef>
              <a:spcAft>
                <a:spcPts val="0"/>
              </a:spcAft>
              <a:buClrTx/>
              <a:buSzTx/>
              <a:buFontTx/>
              <a:buBlip>
                <a:blip r:embed="rId8"/>
              </a:buBlip>
              <a:tabLst/>
              <a:defRPr/>
            </a:pPr>
            <a:r>
              <a:rPr kumimoji="0" lang="en-US" sz="2400" b="0" i="0" u="none" strike="noStrike" kern="1200" cap="none" spc="0" normalizeH="0" baseline="0" noProof="0" dirty="0">
                <a:ln>
                  <a:noFill/>
                </a:ln>
                <a:gradFill>
                  <a:gsLst>
                    <a:gs pos="0">
                      <a:prstClr val="black"/>
                    </a:gs>
                    <a:gs pos="100000">
                      <a:prstClr val="black"/>
                    </a:gs>
                  </a:gsLst>
                  <a:lin ang="5400000" scaled="0"/>
                </a:gradFill>
                <a:effectLst/>
                <a:uLnTx/>
                <a:uFillTx/>
                <a:latin typeface="Calibri"/>
                <a:ea typeface="+mn-ea"/>
                <a:cs typeface="+mn-cs"/>
              </a:rPr>
              <a:t>Fixed resources are shared</a:t>
            </a:r>
          </a:p>
        </p:txBody>
      </p:sp>
      <p:cxnSp>
        <p:nvCxnSpPr>
          <p:cNvPr id="77" name="Straight Connector 76"/>
          <p:cNvCxnSpPr/>
          <p:nvPr/>
        </p:nvCxnSpPr>
        <p:spPr>
          <a:xfrm>
            <a:off x="5224463" y="1987908"/>
            <a:ext cx="0" cy="3071682"/>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3328194" y="2745670"/>
            <a:ext cx="0"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949700" y="1987908"/>
            <a:ext cx="0" cy="3071682"/>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614863" y="2745670"/>
            <a:ext cx="0"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900738" y="2745670"/>
            <a:ext cx="0" cy="182880"/>
          </a:xfrm>
          <a:prstGeom prst="line">
            <a:avLst/>
          </a:prstGeom>
          <a:ln>
            <a:gradFill>
              <a:gsLst>
                <a:gs pos="0">
                  <a:schemeClr val="tx1">
                    <a:alpha val="16000"/>
                  </a:schemeClr>
                </a:gs>
                <a:gs pos="50000">
                  <a:schemeClr val="tx1"/>
                </a:gs>
                <a:gs pos="100000">
                  <a:schemeClr val="tx1">
                    <a:lumMod val="85000"/>
                    <a:alpha val="14000"/>
                  </a:schemeClr>
                </a:gs>
              </a:gsLst>
              <a:lin ang="54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55898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xit" presetSubtype="0" fill="hold" nodeType="withEffect">
                                  <p:stCondLst>
                                    <p:cond delay="0"/>
                                  </p:stCondLst>
                                  <p:childTnLst>
                                    <p:animEffect transition="out" filter="fade">
                                      <p:cBhvr>
                                        <p:cTn id="6" dur="500"/>
                                        <p:tgtEl>
                                          <p:spTgt spid="81"/>
                                        </p:tgtEl>
                                      </p:cBhvr>
                                    </p:animEffect>
                                    <p:set>
                                      <p:cBhvr>
                                        <p:cTn id="7" dur="1" fill="hold">
                                          <p:stCondLst>
                                            <p:cond delay="499"/>
                                          </p:stCondLst>
                                        </p:cTn>
                                        <p:tgtEl>
                                          <p:spTgt spid="81"/>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82"/>
                                        </p:tgtEl>
                                      </p:cBhvr>
                                    </p:animEffect>
                                    <p:set>
                                      <p:cBhvr>
                                        <p:cTn id="10" dur="1" fill="hold">
                                          <p:stCondLst>
                                            <p:cond delay="499"/>
                                          </p:stCondLst>
                                        </p:cTn>
                                        <p:tgtEl>
                                          <p:spTgt spid="82"/>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77"/>
                                        </p:tgtEl>
                                      </p:cBhvr>
                                    </p:animEffect>
                                    <p:set>
                                      <p:cBhvr>
                                        <p:cTn id="13" dur="1" fill="hold">
                                          <p:stCondLst>
                                            <p:cond delay="499"/>
                                          </p:stCondLst>
                                        </p:cTn>
                                        <p:tgtEl>
                                          <p:spTgt spid="77"/>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4"/>
                                        </p:tgtEl>
                                      </p:cBhvr>
                                    </p:animEffect>
                                    <p:set>
                                      <p:cBhvr>
                                        <p:cTn id="16" dur="1" fill="hold">
                                          <p:stCondLst>
                                            <p:cond delay="499"/>
                                          </p:stCondLst>
                                        </p:cTn>
                                        <p:tgtEl>
                                          <p:spTgt spid="8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3"/>
                                        </p:tgtEl>
                                      </p:cBhvr>
                                    </p:animEffect>
                                    <p:set>
                                      <p:cBhvr>
                                        <p:cTn id="19" dur="1" fill="hold">
                                          <p:stCondLst>
                                            <p:cond delay="499"/>
                                          </p:stCondLst>
                                        </p:cTn>
                                        <p:tgtEl>
                                          <p:spTgt spid="83"/>
                                        </p:tgtEl>
                                        <p:attrNameLst>
                                          <p:attrName>style.visibility</p:attrName>
                                        </p:attrNameLst>
                                      </p:cBhvr>
                                      <p:to>
                                        <p:strVal val="hidden"/>
                                      </p:to>
                                    </p:set>
                                  </p:childTnLst>
                                </p:cTn>
                              </p:par>
                            </p:childTnLst>
                          </p:cTn>
                        </p:par>
                        <p:par>
                          <p:cTn id="20" fill="hold" nodeType="afterGroup">
                            <p:stCondLst>
                              <p:cond delay="500"/>
                            </p:stCondLst>
                            <p:childTnLst>
                              <p:par>
                                <p:cTn id="21" presetID="42" presetClass="path" presetSubtype="0" accel="50000" decel="50000" fill="hold" nodeType="afterEffect">
                                  <p:stCondLst>
                                    <p:cond delay="0"/>
                                  </p:stCondLst>
                                  <p:childTnLst>
                                    <p:animMotion origin="layout" path="M -1.66667E-6 2.33117E-6 L 0.13577 2.33117E-6 " pathEditMode="relative" rAng="0" ptsTypes="AA">
                                      <p:cBhvr>
                                        <p:cTn id="22" dur="2000" fill="hold"/>
                                        <p:tgtEl>
                                          <p:spTgt spid="3"/>
                                        </p:tgtEl>
                                        <p:attrNameLst>
                                          <p:attrName>ppt_x</p:attrName>
                                          <p:attrName>ppt_y</p:attrName>
                                        </p:attrNameLst>
                                      </p:cBhvr>
                                      <p:rCtr x="6788" y="0"/>
                                    </p:animMotion>
                                  </p:childTnLst>
                                </p:cTn>
                              </p:par>
                              <p:par>
                                <p:cTn id="23" presetID="42" presetClass="path" presetSubtype="0" accel="50000" decel="50000" fill="hold" nodeType="withEffect">
                                  <p:stCondLst>
                                    <p:cond delay="0"/>
                                  </p:stCondLst>
                                  <p:childTnLst>
                                    <p:animMotion origin="layout" path="M -4.16667E-6 -1.19334E-6 L -0.14322 0.00162 " pathEditMode="relative" rAng="0" ptsTypes="AA">
                                      <p:cBhvr>
                                        <p:cTn id="24" dur="2000" fill="hold"/>
                                        <p:tgtEl>
                                          <p:spTgt spid="4"/>
                                        </p:tgtEl>
                                        <p:attrNameLst>
                                          <p:attrName>ppt_x</p:attrName>
                                          <p:attrName>ppt_y</p:attrName>
                                        </p:attrNameLst>
                                      </p:cBhvr>
                                      <p:rCtr x="-7170" y="69"/>
                                    </p:animMotion>
                                  </p:childTnLst>
                                </p:cTn>
                              </p:par>
                              <p:par>
                                <p:cTn id="25" presetID="10" presetClass="exit" presetSubtype="0" fill="hold" nodeType="withEffect">
                                  <p:stCondLst>
                                    <p:cond delay="0"/>
                                  </p:stCondLst>
                                  <p:childTnLst>
                                    <p:animEffect transition="out" filter="fade">
                                      <p:cBhvr>
                                        <p:cTn id="26" dur="2000"/>
                                        <p:tgtEl>
                                          <p:spTgt spid="3"/>
                                        </p:tgtEl>
                                      </p:cBhvr>
                                    </p:animEffect>
                                    <p:set>
                                      <p:cBhvr>
                                        <p:cTn id="27" dur="1" fill="hold">
                                          <p:stCondLst>
                                            <p:cond delay="1999"/>
                                          </p:stCondLst>
                                        </p:cTn>
                                        <p:tgtEl>
                                          <p:spTgt spid="3"/>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2000"/>
                                        <p:tgtEl>
                                          <p:spTgt spid="4"/>
                                        </p:tgtEl>
                                      </p:cBhvr>
                                    </p:animEffect>
                                    <p:set>
                                      <p:cBhvr>
                                        <p:cTn id="30" dur="1" fill="hold">
                                          <p:stCondLst>
                                            <p:cond delay="1999"/>
                                          </p:stCondLst>
                                        </p:cTn>
                                        <p:tgtEl>
                                          <p:spTgt spid="4"/>
                                        </p:tgtEl>
                                        <p:attrNameLst>
                                          <p:attrName>style.visibility</p:attrName>
                                        </p:attrNameLst>
                                      </p:cBhvr>
                                      <p:to>
                                        <p:strVal val="hidden"/>
                                      </p:to>
                                    </p:set>
                                  </p:childTnLst>
                                </p:cTn>
                              </p:par>
                            </p:childTnLst>
                          </p:cTn>
                        </p:par>
                        <p:par>
                          <p:cTn id="31" fill="hold" nodeType="afterGroup">
                            <p:stCondLst>
                              <p:cond delay="2500"/>
                            </p:stCondLst>
                            <p:childTnLst>
                              <p:par>
                                <p:cTn id="32" presetID="10" presetClass="entr" presetSubtype="0" fill="hold" nodeType="after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fade">
                                      <p:cBhvr>
                                        <p:cTn id="34" dur="500"/>
                                        <p:tgtEl>
                                          <p:spTgt spid="58"/>
                                        </p:tgtEl>
                                      </p:cBhvr>
                                    </p:animEffect>
                                  </p:childTnLst>
                                </p:cTn>
                              </p:par>
                              <p:par>
                                <p:cTn id="35" presetID="10" presetClass="entr" presetSubtype="0" fill="hold" nodeType="with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10" presetClass="entr" presetSubtype="0" fill="hold" nodeType="withEffect">
                                  <p:stCondLst>
                                    <p:cond delay="0"/>
                                  </p:stCondLst>
                                  <p:childTnLst>
                                    <p:set>
                                      <p:cBhvr>
                                        <p:cTn id="39" dur="1" fill="hold">
                                          <p:stCondLst>
                                            <p:cond delay="0"/>
                                          </p:stCondLst>
                                        </p:cTn>
                                        <p:tgtEl>
                                          <p:spTgt spid="65"/>
                                        </p:tgtEl>
                                        <p:attrNameLst>
                                          <p:attrName>style.visibility</p:attrName>
                                        </p:attrNameLst>
                                      </p:cBhvr>
                                      <p:to>
                                        <p:strVal val="visible"/>
                                      </p:to>
                                    </p:set>
                                    <p:animEffect transition="in" filter="fade">
                                      <p:cBhvr>
                                        <p:cTn id="40"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909FA-3F91-0646-A6A8-60C236B90508}" type="slidenum">
              <a:rPr kumimoji="0" lang="en-US" sz="882" b="0" i="0" u="none" strike="noStrike" kern="1200" cap="none" spc="0" normalizeH="0" baseline="0" noProof="0" smtClean="0">
                <a:ln>
                  <a:noFill/>
                </a:ln>
                <a:solidFill>
                  <a:srgbClr val="00000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82"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33049" r="37216"/>
          <a:stretch/>
        </p:blipFill>
        <p:spPr>
          <a:xfrm>
            <a:off x="9124950" y="0"/>
            <a:ext cx="3067049" cy="6858000"/>
          </a:xfrm>
          <a:prstGeom prst="rect">
            <a:avLst/>
          </a:prstGeom>
        </p:spPr>
      </p:pic>
      <p:sp>
        <p:nvSpPr>
          <p:cNvPr id="4" name="TextBox 3"/>
          <p:cNvSpPr txBox="1"/>
          <p:nvPr/>
        </p:nvSpPr>
        <p:spPr>
          <a:xfrm>
            <a:off x="0" y="209550"/>
            <a:ext cx="9124950" cy="914400"/>
          </a:xfrm>
          <a:prstGeom prst="rect">
            <a:avLst/>
          </a:prstGeom>
          <a:noFill/>
        </p:spPr>
        <p:txBody>
          <a:bodyPr wrap="none" lIns="182880" tIns="146304" rIns="182880" bIns="146304"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2800" b="1" i="0" u="none" strike="noStrike" kern="1200" cap="none" spc="0" normalizeH="0" baseline="0" noProof="0" dirty="0">
                <a:ln>
                  <a:noFill/>
                </a:ln>
                <a:solidFill>
                  <a:srgbClr val="505050"/>
                </a:solidFill>
                <a:effectLst/>
                <a:uLnTx/>
                <a:uFillTx/>
                <a:latin typeface="Segoe UI"/>
                <a:ea typeface="+mn-ea"/>
                <a:cs typeface="+mn-cs"/>
              </a:rPr>
              <a:t>Common Cloud Cybersecurity Concerns</a:t>
            </a:r>
          </a:p>
        </p:txBody>
      </p:sp>
      <p:sp>
        <p:nvSpPr>
          <p:cNvPr id="5" name="TextBox 4"/>
          <p:cNvSpPr txBox="1"/>
          <p:nvPr/>
        </p:nvSpPr>
        <p:spPr>
          <a:xfrm>
            <a:off x="656233" y="1819275"/>
            <a:ext cx="914400" cy="914400"/>
          </a:xfrm>
          <a:prstGeom prst="rect">
            <a:avLst/>
          </a:prstGeom>
          <a:noFill/>
        </p:spPr>
        <p:txBody>
          <a:bodyPr wrap="none" lIns="182880" tIns="146304" rIns="182880" bIns="146304" rtlCol="0">
            <a:noAutofit/>
          </a:bodyPr>
          <a:lstStyle/>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800" b="1" i="0" u="none" strike="noStrike" kern="1200" cap="none" spc="0" normalizeH="0" baseline="0" noProof="0" dirty="0">
                <a:ln>
                  <a:noFill/>
                </a:ln>
                <a:solidFill>
                  <a:srgbClr val="505050"/>
                </a:solidFill>
                <a:effectLst/>
                <a:uLnTx/>
                <a:uFillTx/>
                <a:latin typeface="Segoe UI"/>
                <a:ea typeface="+mn-ea"/>
                <a:cs typeface="+mn-cs"/>
              </a:rPr>
              <a:t>Data sovereignty</a:t>
            </a:r>
            <a:endParaRPr kumimoji="0" lang="en-GB" sz="2800" b="0" i="0" u="none" strike="noStrike" kern="1200" cap="none" spc="0" normalizeH="0" baseline="0" noProof="0" dirty="0">
              <a:ln>
                <a:noFill/>
              </a:ln>
              <a:solidFill>
                <a:srgbClr val="505050"/>
              </a:solidFill>
              <a:effectLst/>
              <a:uLnTx/>
              <a:uFillTx/>
              <a:latin typeface="Segoe UI"/>
              <a:ea typeface="+mn-ea"/>
              <a:cs typeface="+mn-cs"/>
            </a:endParaRP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800" b="1" i="0" u="none" strike="noStrike" kern="1200" cap="none" spc="0" normalizeH="0" baseline="0" noProof="0" dirty="0">
                <a:ln>
                  <a:noFill/>
                </a:ln>
                <a:solidFill>
                  <a:srgbClr val="505050"/>
                </a:solidFill>
                <a:effectLst/>
                <a:uLnTx/>
                <a:uFillTx/>
                <a:latin typeface="Segoe UI"/>
                <a:ea typeface="+mn-ea"/>
                <a:cs typeface="+mn-cs"/>
              </a:rPr>
              <a:t>Data Security </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800" b="1" i="0" u="none" strike="noStrike" kern="1200" cap="none" spc="0" normalizeH="0" baseline="0" noProof="0" dirty="0">
                <a:ln>
                  <a:noFill/>
                </a:ln>
                <a:solidFill>
                  <a:srgbClr val="505050"/>
                </a:solidFill>
                <a:effectLst/>
                <a:uLnTx/>
                <a:uFillTx/>
                <a:latin typeface="Segoe UI"/>
                <a:ea typeface="+mn-ea"/>
                <a:cs typeface="+mn-cs"/>
              </a:rPr>
              <a:t>Privacy and Control</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800" b="1" i="0" u="none" strike="noStrike" kern="1200" cap="none" spc="0" normalizeH="0" baseline="0" noProof="0" dirty="0">
                <a:ln>
                  <a:noFill/>
                </a:ln>
                <a:solidFill>
                  <a:srgbClr val="505050"/>
                </a:solidFill>
                <a:effectLst/>
                <a:uLnTx/>
                <a:uFillTx/>
                <a:latin typeface="Segoe UI"/>
                <a:ea typeface="+mn-ea"/>
                <a:cs typeface="+mn-cs"/>
              </a:rPr>
              <a:t>Compliance &amp; Governance</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800" b="1" i="0" u="none" strike="noStrike" kern="1200" cap="none" spc="0" normalizeH="0" baseline="0" noProof="0" dirty="0">
                <a:ln>
                  <a:noFill/>
                </a:ln>
                <a:solidFill>
                  <a:srgbClr val="505050"/>
                </a:solidFill>
                <a:effectLst/>
                <a:uLnTx/>
                <a:uFillTx/>
                <a:latin typeface="Segoe UI"/>
                <a:ea typeface="+mn-ea"/>
                <a:cs typeface="+mn-cs"/>
              </a:rPr>
              <a:t>Transparency </a:t>
            </a:r>
          </a:p>
          <a:p>
            <a:pPr marL="457200" marR="0" lvl="0" indent="-457200" algn="l" defTabSz="914400" rtl="0" eaLnBrk="1" fontAlgn="auto" latinLnBrk="0" hangingPunct="1">
              <a:lnSpc>
                <a:spcPct val="90000"/>
              </a:lnSpc>
              <a:spcBef>
                <a:spcPts val="0"/>
              </a:spcBef>
              <a:spcAft>
                <a:spcPts val="600"/>
              </a:spcAft>
              <a:buClrTx/>
              <a:buSzTx/>
              <a:buFont typeface="+mj-lt"/>
              <a:buAutoNum type="arabicPeriod"/>
              <a:tabLst/>
              <a:defRPr/>
            </a:pPr>
            <a:r>
              <a:rPr kumimoji="0" lang="en-GB" sz="2800" b="1" i="0" u="none" strike="noStrike" kern="1200" cap="none" spc="0" normalizeH="0" baseline="0" noProof="0" dirty="0">
                <a:ln>
                  <a:noFill/>
                </a:ln>
                <a:solidFill>
                  <a:srgbClr val="505050"/>
                </a:solidFill>
                <a:effectLst/>
                <a:uLnTx/>
                <a:uFillTx/>
                <a:latin typeface="Segoe UI"/>
                <a:ea typeface="+mn-ea"/>
                <a:cs typeface="+mn-cs"/>
              </a:rPr>
              <a:t>Skills</a:t>
            </a:r>
          </a:p>
        </p:txBody>
      </p:sp>
      <p:pic>
        <p:nvPicPr>
          <p:cNvPr id="7" name="Picture 6"/>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7349" r="52757"/>
          <a:stretch/>
        </p:blipFill>
        <p:spPr>
          <a:xfrm>
            <a:off x="9124950" y="0"/>
            <a:ext cx="3067050" cy="6858000"/>
          </a:xfrm>
          <a:prstGeom prst="rect">
            <a:avLst/>
          </a:prstGeom>
        </p:spPr>
      </p:pic>
    </p:spTree>
    <p:extLst>
      <p:ext uri="{BB962C8B-B14F-4D97-AF65-F5344CB8AC3E}">
        <p14:creationId xmlns:p14="http://schemas.microsoft.com/office/powerpoint/2010/main" val="1962835189"/>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362199" y="1305246"/>
            <a:ext cx="2692944" cy="2170387"/>
            <a:chOff x="3413141" y="1286173"/>
            <a:chExt cx="2746943" cy="2213908"/>
          </a:xfrm>
        </p:grpSpPr>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413814" y="1286173"/>
              <a:ext cx="2745821" cy="2213908"/>
            </a:xfrm>
            <a:prstGeom prst="rect">
              <a:avLst/>
            </a:prstGeom>
          </p:spPr>
        </p:pic>
        <p:sp>
          <p:nvSpPr>
            <p:cNvPr id="8" name="Rectangle 7"/>
            <p:cNvSpPr/>
            <p:nvPr/>
          </p:nvSpPr>
          <p:spPr bwMode="auto">
            <a:xfrm>
              <a:off x="3413141" y="2617730"/>
              <a:ext cx="2746943" cy="882350"/>
            </a:xfrm>
            <a:prstGeom prst="rect">
              <a:avLst/>
            </a:prstGeom>
            <a:gradFill>
              <a:gsLst>
                <a:gs pos="0">
                  <a:schemeClr val="tx1">
                    <a:alpha val="0"/>
                  </a:scheme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charset="0"/>
                  <a:ea typeface="Segoe UI" charset="0"/>
                  <a:cs typeface="Segoe UI" charset="0"/>
                </a:rPr>
                <a:t>NATION-STATE</a:t>
              </a:r>
            </a:p>
          </p:txBody>
        </p:sp>
      </p:grpSp>
      <p:grpSp>
        <p:nvGrpSpPr>
          <p:cNvPr id="27" name="Group 26"/>
          <p:cNvGrpSpPr/>
          <p:nvPr/>
        </p:nvGrpSpPr>
        <p:grpSpPr>
          <a:xfrm>
            <a:off x="6134279" y="1298708"/>
            <a:ext cx="2745126" cy="2178555"/>
            <a:chOff x="6257283" y="1271265"/>
            <a:chExt cx="2800172" cy="2222240"/>
          </a:xfrm>
        </p:grpSpPr>
        <p:pic>
          <p:nvPicPr>
            <p:cNvPr id="22" name="Picture 21"/>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72294" y="1271265"/>
              <a:ext cx="2762563" cy="2220716"/>
            </a:xfrm>
            <a:prstGeom prst="rect">
              <a:avLst/>
            </a:prstGeom>
          </p:spPr>
        </p:pic>
        <p:sp>
          <p:nvSpPr>
            <p:cNvPr id="25" name="Rectangle 24"/>
            <p:cNvSpPr/>
            <p:nvPr/>
          </p:nvSpPr>
          <p:spPr bwMode="auto">
            <a:xfrm>
              <a:off x="6257283" y="2603636"/>
              <a:ext cx="2800172" cy="889869"/>
            </a:xfrm>
            <a:prstGeom prst="rect">
              <a:avLst/>
            </a:prstGeom>
            <a:gradFill>
              <a:gsLst>
                <a:gs pos="0">
                  <a:schemeClr val="tx1">
                    <a:alpha val="0"/>
                  </a:scheme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charset="0"/>
                  <a:ea typeface="Segoe UI" charset="0"/>
                  <a:cs typeface="Segoe UI" charset="0"/>
                </a:rPr>
                <a:t>HACKTIVISTS</a:t>
              </a:r>
            </a:p>
          </p:txBody>
        </p:sp>
      </p:grpSp>
      <p:grpSp>
        <p:nvGrpSpPr>
          <p:cNvPr id="21" name="Group 20"/>
          <p:cNvGrpSpPr/>
          <p:nvPr/>
        </p:nvGrpSpPr>
        <p:grpSpPr>
          <a:xfrm>
            <a:off x="568048" y="1300225"/>
            <a:ext cx="2712248" cy="2183620"/>
            <a:chOff x="579438" y="1281051"/>
            <a:chExt cx="2766634" cy="2227406"/>
          </a:xfrm>
        </p:grpSpPr>
        <p:pic>
          <p:nvPicPr>
            <p:cNvPr id="6" name="Picture 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82096" y="1281051"/>
              <a:ext cx="2762563" cy="2227406"/>
            </a:xfrm>
            <a:prstGeom prst="rect">
              <a:avLst/>
            </a:prstGeom>
          </p:spPr>
        </p:pic>
        <p:sp>
          <p:nvSpPr>
            <p:cNvPr id="29" name="Rectangle 28"/>
            <p:cNvSpPr/>
            <p:nvPr/>
          </p:nvSpPr>
          <p:spPr bwMode="auto">
            <a:xfrm>
              <a:off x="579438" y="2615385"/>
              <a:ext cx="2766634" cy="893072"/>
            </a:xfrm>
            <a:prstGeom prst="rect">
              <a:avLst/>
            </a:prstGeom>
            <a:gradFill>
              <a:gsLst>
                <a:gs pos="0">
                  <a:schemeClr val="tx1">
                    <a:alpha val="0"/>
                  </a:scheme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charset="0"/>
                  <a:ea typeface="Segoe UI" charset="0"/>
                  <a:cs typeface="Segoe UI" charset="0"/>
                </a:rPr>
                <a:t>CYBERCRIMINALS</a:t>
              </a:r>
            </a:p>
          </p:txBody>
        </p:sp>
      </p:grpSp>
      <p:grpSp>
        <p:nvGrpSpPr>
          <p:cNvPr id="31" name="Group 30"/>
          <p:cNvGrpSpPr/>
          <p:nvPr/>
        </p:nvGrpSpPr>
        <p:grpSpPr>
          <a:xfrm>
            <a:off x="8944972" y="1295400"/>
            <a:ext cx="2693678" cy="2176594"/>
            <a:chOff x="9124337" y="1276129"/>
            <a:chExt cx="2747692" cy="2220239"/>
          </a:xfrm>
        </p:grpSpPr>
        <p:pic>
          <p:nvPicPr>
            <p:cNvPr id="28" name="Picture 27"/>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124337" y="1276129"/>
              <a:ext cx="2732701" cy="2212948"/>
            </a:xfrm>
            <a:prstGeom prst="rect">
              <a:avLst/>
            </a:prstGeom>
          </p:spPr>
        </p:pic>
        <p:sp>
          <p:nvSpPr>
            <p:cNvPr id="10" name="Rectangle 9">
              <a:extLst>
                <a:ext uri="{FF2B5EF4-FFF2-40B4-BE49-F238E27FC236}">
                  <a16:creationId xmlns:a16="http://schemas.microsoft.com/office/drawing/2014/main" id="{63A49DE0-3767-4BA7-92CB-664E89953A7A}"/>
                </a:ext>
              </a:extLst>
            </p:cNvPr>
            <p:cNvSpPr/>
            <p:nvPr/>
          </p:nvSpPr>
          <p:spPr bwMode="auto">
            <a:xfrm>
              <a:off x="9130965" y="2603882"/>
              <a:ext cx="2741064" cy="892486"/>
            </a:xfrm>
            <a:prstGeom prst="rect">
              <a:avLst/>
            </a:prstGeom>
            <a:gradFill>
              <a:gsLst>
                <a:gs pos="0">
                  <a:schemeClr val="tx1">
                    <a:alpha val="0"/>
                  </a:scheme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solidFill>
                    <a:srgbClr val="FFFFFF"/>
                  </a:solidFill>
                  <a:effectLst/>
                  <a:uLnTx/>
                  <a:uFillTx/>
                  <a:latin typeface="Segoe UI" charset="0"/>
                  <a:ea typeface="Segoe UI" charset="0"/>
                  <a:cs typeface="Segoe UI" charset="0"/>
                </a:rPr>
                <a:t>INSIDERS</a:t>
              </a:r>
            </a:p>
          </p:txBody>
        </p:sp>
      </p:grpSp>
      <p:sp>
        <p:nvSpPr>
          <p:cNvPr id="2" name="Title 1"/>
          <p:cNvSpPr>
            <a:spLocks noGrp="1"/>
          </p:cNvSpPr>
          <p:nvPr>
            <p:ph type="title"/>
          </p:nvPr>
        </p:nvSpPr>
        <p:spPr>
          <a:xfrm>
            <a:off x="568048" y="228600"/>
            <a:ext cx="12121508" cy="507757"/>
          </a:xfrm>
        </p:spPr>
        <p:txBody>
          <a:bodyPr>
            <a:normAutofit fontScale="90000"/>
          </a:bodyPr>
          <a:lstStyle/>
          <a:p>
            <a:pPr>
              <a:lnSpc>
                <a:spcPct val="100000"/>
              </a:lnSpc>
            </a:pPr>
            <a:r>
              <a:rPr lang="en-US" sz="3529" kern="1500" spc="0" dirty="0">
                <a:solidFill>
                  <a:schemeClr val="tx1">
                    <a:lumMod val="90000"/>
                    <a:lumOff val="10000"/>
                  </a:schemeClr>
                </a:solidFill>
                <a:ea typeface="SerifGothic LT Light" charset="0"/>
              </a:rPr>
              <a:t>Today’s threat actors </a:t>
            </a:r>
            <a:r>
              <a:rPr lang="en-US" sz="3529" kern="1500" spc="0" dirty="0">
                <a:solidFill>
                  <a:schemeClr val="tx1">
                    <a:lumMod val="90000"/>
                    <a:lumOff val="10000"/>
                  </a:schemeClr>
                </a:solidFill>
                <a:ea typeface="SerifGothic LT Light" charset="0"/>
                <a:cs typeface="SerifGothic LT Light" charset="0"/>
              </a:rPr>
              <a:t>pose unique challenges</a:t>
            </a:r>
          </a:p>
        </p:txBody>
      </p:sp>
      <p:sp>
        <p:nvSpPr>
          <p:cNvPr id="37" name="TextBox 36">
            <a:extLst>
              <a:ext uri="{FF2B5EF4-FFF2-40B4-BE49-F238E27FC236}">
                <a16:creationId xmlns:a16="http://schemas.microsoft.com/office/drawing/2014/main" id="{94F7E703-5C88-4EC0-84A5-3910FE5CF4C7}"/>
              </a:ext>
            </a:extLst>
          </p:cNvPr>
          <p:cNvSpPr txBox="1"/>
          <p:nvPr/>
        </p:nvSpPr>
        <p:spPr>
          <a:xfrm>
            <a:off x="438181" y="635234"/>
            <a:ext cx="11055906" cy="5666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Light" panose="020B0502040204020203" pitchFamily="34" charset="0"/>
                <a:ea typeface="+mn-ea"/>
                <a:cs typeface="Segoe UI Light" panose="020B0502040204020203" pitchFamily="34" charset="0"/>
              </a:rPr>
              <a:t>An effective strategy must respond to a broad range of continually evolving attack types</a:t>
            </a:r>
          </a:p>
        </p:txBody>
      </p:sp>
      <p:grpSp>
        <p:nvGrpSpPr>
          <p:cNvPr id="48" name="Group 47"/>
          <p:cNvGrpSpPr/>
          <p:nvPr/>
        </p:nvGrpSpPr>
        <p:grpSpPr>
          <a:xfrm>
            <a:off x="400510" y="3402808"/>
            <a:ext cx="2363134" cy="1383833"/>
            <a:chOff x="405314" y="3219853"/>
            <a:chExt cx="2410520" cy="1411582"/>
          </a:xfrm>
        </p:grpSpPr>
        <p:sp>
          <p:nvSpPr>
            <p:cNvPr id="38" name="TextBox 37">
              <a:extLst>
                <a:ext uri="{FF2B5EF4-FFF2-40B4-BE49-F238E27FC236}">
                  <a16:creationId xmlns:a16="http://schemas.microsoft.com/office/drawing/2014/main" id="{64B41263-E567-461B-9AC0-EB8BD93753C2}"/>
                </a:ext>
              </a:extLst>
            </p:cNvPr>
            <p:cNvSpPr txBox="1"/>
            <p:nvPr/>
          </p:nvSpPr>
          <p:spPr>
            <a:xfrm>
              <a:off x="405314" y="3219853"/>
              <a:ext cx="1676730" cy="578019"/>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98" normalizeH="0" baseline="0" noProof="0">
                  <a:ln>
                    <a:noFill/>
                  </a:ln>
                  <a:solidFill>
                    <a:srgbClr val="0072C6"/>
                  </a:solidFill>
                  <a:effectLst/>
                  <a:uLnTx/>
                  <a:uFillTx/>
                  <a:latin typeface="Segoe UI Semibold" panose="020B0702040204020203" pitchFamily="34" charset="0"/>
                  <a:ea typeface="Segoe Light" charset="0"/>
                  <a:cs typeface="Segoe UI Semibold" panose="020B0702040204020203" pitchFamily="34" charset="0"/>
                </a:rPr>
                <a:t>FINANCIAL</a:t>
              </a:r>
            </a:p>
          </p:txBody>
        </p:sp>
        <p:sp>
          <p:nvSpPr>
            <p:cNvPr id="19" name="TextBox 18"/>
            <p:cNvSpPr txBox="1"/>
            <p:nvPr/>
          </p:nvSpPr>
          <p:spPr>
            <a:xfrm>
              <a:off x="408235" y="3478891"/>
              <a:ext cx="2407599" cy="115254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Persistent presenc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Professional exec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Ransomware</a:t>
              </a:r>
            </a:p>
            <a:p>
              <a:pPr marL="0" marR="0" lvl="0" indent="0" algn="l" defTabSz="914367" rtl="0" eaLnBrk="1" fontAlgn="auto" latinLnBrk="0" hangingPunct="1">
                <a:lnSpc>
                  <a:spcPct val="90000"/>
                </a:lnSpc>
                <a:spcBef>
                  <a:spcPts val="0"/>
                </a:spcBef>
                <a:spcAft>
                  <a:spcPts val="588"/>
                </a:spcAft>
                <a:buClrTx/>
                <a:buSzTx/>
                <a:buFontTx/>
                <a:buNone/>
                <a:tabLst/>
                <a:defRPr/>
              </a:pPr>
              <a:endParaRPr kumimoji="0" lang="en-US" sz="14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endParaRPr>
            </a:p>
          </p:txBody>
        </p:sp>
      </p:grpSp>
      <p:grpSp>
        <p:nvGrpSpPr>
          <p:cNvPr id="47" name="Group 46"/>
          <p:cNvGrpSpPr/>
          <p:nvPr/>
        </p:nvGrpSpPr>
        <p:grpSpPr>
          <a:xfrm>
            <a:off x="3168652" y="3390544"/>
            <a:ext cx="2360271" cy="1195842"/>
            <a:chOff x="3232189" y="3192924"/>
            <a:chExt cx="2407599" cy="1219821"/>
          </a:xfrm>
        </p:grpSpPr>
        <p:sp>
          <p:nvSpPr>
            <p:cNvPr id="42" name="TextBox 41"/>
            <p:cNvSpPr txBox="1"/>
            <p:nvPr/>
          </p:nvSpPr>
          <p:spPr>
            <a:xfrm>
              <a:off x="3232189" y="3457989"/>
              <a:ext cx="2407599" cy="954756"/>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Near-unlimited resourc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Sophistication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Legal autonomy</a:t>
              </a:r>
            </a:p>
          </p:txBody>
        </p:sp>
        <p:sp>
          <p:nvSpPr>
            <p:cNvPr id="39" name="TextBox 38">
              <a:extLst>
                <a:ext uri="{FF2B5EF4-FFF2-40B4-BE49-F238E27FC236}">
                  <a16:creationId xmlns:a16="http://schemas.microsoft.com/office/drawing/2014/main" id="{64B41263-E567-461B-9AC0-EB8BD93753C2}"/>
                </a:ext>
              </a:extLst>
            </p:cNvPr>
            <p:cNvSpPr txBox="1"/>
            <p:nvPr/>
          </p:nvSpPr>
          <p:spPr>
            <a:xfrm>
              <a:off x="3232189" y="3192924"/>
              <a:ext cx="1741024" cy="578019"/>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98" normalizeH="0" baseline="0" noProof="0">
                  <a:ln>
                    <a:noFill/>
                  </a:ln>
                  <a:solidFill>
                    <a:srgbClr val="0072C6"/>
                  </a:solidFill>
                  <a:effectLst/>
                  <a:uLnTx/>
                  <a:uFillTx/>
                  <a:latin typeface="Segoe UI Semibold" panose="020B0702040204020203" pitchFamily="34" charset="0"/>
                  <a:ea typeface="Segoe Light" charset="0"/>
                  <a:cs typeface="Segoe UI Semibold" panose="020B0702040204020203" pitchFamily="34" charset="0"/>
                </a:rPr>
                <a:t>ESPIONAGE</a:t>
              </a:r>
            </a:p>
          </p:txBody>
        </p:sp>
      </p:grpSp>
      <p:grpSp>
        <p:nvGrpSpPr>
          <p:cNvPr id="46" name="Group 45"/>
          <p:cNvGrpSpPr/>
          <p:nvPr/>
        </p:nvGrpSpPr>
        <p:grpSpPr>
          <a:xfrm>
            <a:off x="5971739" y="3380515"/>
            <a:ext cx="2367389" cy="988732"/>
            <a:chOff x="6091484" y="3190932"/>
            <a:chExt cx="2414860" cy="1008558"/>
          </a:xfrm>
        </p:grpSpPr>
        <p:sp>
          <p:nvSpPr>
            <p:cNvPr id="40" name="TextBox 39">
              <a:extLst>
                <a:ext uri="{FF2B5EF4-FFF2-40B4-BE49-F238E27FC236}">
                  <a16:creationId xmlns:a16="http://schemas.microsoft.com/office/drawing/2014/main" id="{64B41263-E567-461B-9AC0-EB8BD93753C2}"/>
                </a:ext>
              </a:extLst>
            </p:cNvPr>
            <p:cNvSpPr txBox="1"/>
            <p:nvPr/>
          </p:nvSpPr>
          <p:spPr>
            <a:xfrm>
              <a:off x="6091484" y="3190932"/>
              <a:ext cx="1599878" cy="578018"/>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98" normalizeH="0" baseline="0" noProof="0">
                  <a:ln>
                    <a:noFill/>
                  </a:ln>
                  <a:solidFill>
                    <a:srgbClr val="0072C6"/>
                  </a:solidFill>
                  <a:effectLst/>
                  <a:uLnTx/>
                  <a:uFillTx/>
                  <a:latin typeface="Segoe UI Semibold" panose="020B0702040204020203" pitchFamily="34" charset="0"/>
                  <a:ea typeface="Segoe Black" charset="0"/>
                  <a:cs typeface="Segoe UI Semibold" panose="020B0702040204020203" pitchFamily="34" charset="0"/>
                </a:rPr>
                <a:t>POLITICAL</a:t>
              </a:r>
            </a:p>
          </p:txBody>
        </p:sp>
        <p:sp>
          <p:nvSpPr>
            <p:cNvPr id="43" name="TextBox 42"/>
            <p:cNvSpPr txBox="1"/>
            <p:nvPr/>
          </p:nvSpPr>
          <p:spPr>
            <a:xfrm>
              <a:off x="6098745" y="3464497"/>
              <a:ext cx="2407599" cy="73499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Shape/influence opinion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Undermine trust</a:t>
              </a:r>
            </a:p>
          </p:txBody>
        </p:sp>
      </p:grpSp>
      <p:grpSp>
        <p:nvGrpSpPr>
          <p:cNvPr id="45" name="Group 44"/>
          <p:cNvGrpSpPr/>
          <p:nvPr/>
        </p:nvGrpSpPr>
        <p:grpSpPr>
          <a:xfrm>
            <a:off x="8789063" y="3372016"/>
            <a:ext cx="2798545" cy="1007005"/>
            <a:chOff x="8965301" y="3165785"/>
            <a:chExt cx="2854662" cy="1027198"/>
          </a:xfrm>
        </p:grpSpPr>
        <p:sp>
          <p:nvSpPr>
            <p:cNvPr id="41" name="TextBox 40">
              <a:extLst>
                <a:ext uri="{FF2B5EF4-FFF2-40B4-BE49-F238E27FC236}">
                  <a16:creationId xmlns:a16="http://schemas.microsoft.com/office/drawing/2014/main" id="{64B41263-E567-461B-9AC0-EB8BD93753C2}"/>
                </a:ext>
              </a:extLst>
            </p:cNvPr>
            <p:cNvSpPr txBox="1"/>
            <p:nvPr/>
          </p:nvSpPr>
          <p:spPr>
            <a:xfrm>
              <a:off x="8965301" y="3165785"/>
              <a:ext cx="2322613" cy="578019"/>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98" normalizeH="0" baseline="0" noProof="0">
                  <a:ln>
                    <a:noFill/>
                  </a:ln>
                  <a:solidFill>
                    <a:srgbClr val="0072C6"/>
                  </a:solidFill>
                  <a:effectLst/>
                  <a:uLnTx/>
                  <a:uFillTx/>
                  <a:latin typeface="Segoe UI Semibold" panose="020B0702040204020203" pitchFamily="34" charset="0"/>
                  <a:ea typeface="Segoe Black" charset="0"/>
                  <a:cs typeface="Segoe UI Semibold" panose="020B0702040204020203" pitchFamily="34" charset="0"/>
                </a:rPr>
                <a:t>OPPORTUNISTIC</a:t>
              </a:r>
            </a:p>
          </p:txBody>
        </p:sp>
        <p:sp>
          <p:nvSpPr>
            <p:cNvPr id="44" name="TextBox 43"/>
            <p:cNvSpPr txBox="1"/>
            <p:nvPr/>
          </p:nvSpPr>
          <p:spPr>
            <a:xfrm>
              <a:off x="8965301" y="3457989"/>
              <a:ext cx="2854662" cy="73499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Access to IT environment</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A1A1A">
                      <a:lumMod val="65000"/>
                      <a:lumOff val="35000"/>
                    </a:srgbClr>
                  </a:solidFill>
                  <a:effectLst/>
                  <a:uLnTx/>
                  <a:uFillTx/>
                  <a:latin typeface="Segoe UI" charset="0"/>
                  <a:ea typeface="Segoe UI" charset="0"/>
                  <a:cs typeface="Segoe UI" charset="0"/>
                </a:rPr>
                <a:t>Trusted to access sensitive info</a:t>
              </a:r>
            </a:p>
          </p:txBody>
        </p:sp>
      </p:grpSp>
      <p:sp>
        <p:nvSpPr>
          <p:cNvPr id="7" name="TextBox 6">
            <a:extLst>
              <a:ext uri="{FF2B5EF4-FFF2-40B4-BE49-F238E27FC236}">
                <a16:creationId xmlns:a16="http://schemas.microsoft.com/office/drawing/2014/main" id="{64B41263-E567-461B-9AC0-EB8BD93753C2}"/>
              </a:ext>
            </a:extLst>
          </p:cNvPr>
          <p:cNvSpPr txBox="1"/>
          <p:nvPr/>
        </p:nvSpPr>
        <p:spPr>
          <a:xfrm>
            <a:off x="400510" y="5054068"/>
            <a:ext cx="1523607" cy="1056021"/>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80000"/>
              </a:lnSpc>
              <a:spcBef>
                <a:spcPts val="0"/>
              </a:spcBef>
              <a:spcAft>
                <a:spcPts val="588"/>
              </a:spcAft>
              <a:buClrTx/>
              <a:buSzTx/>
              <a:buFontTx/>
              <a:buNone/>
              <a:tabLst/>
              <a:defRPr/>
            </a:pPr>
            <a:r>
              <a:rPr kumimoji="0" lang="en-US" sz="2800" b="0" i="0" u="none" strike="noStrike" kern="1200" cap="none" spc="-98" normalizeH="0" baseline="0" noProof="0">
                <a:ln>
                  <a:noFill/>
                </a:ln>
                <a:solidFill>
                  <a:srgbClr val="0072C6"/>
                </a:solidFill>
                <a:effectLst/>
                <a:uLnTx/>
                <a:uFillTx/>
                <a:latin typeface="Segoe UI Semilight" panose="020B0402040204020203" pitchFamily="34" charset="0"/>
                <a:ea typeface="Segoe Semibold" charset="0"/>
                <a:cs typeface="Segoe UI Semilight" panose="020B0402040204020203" pitchFamily="34" charset="0"/>
              </a:rPr>
              <a:t>Attack</a:t>
            </a:r>
          </a:p>
          <a:p>
            <a:pPr marL="0" marR="0" lvl="0" indent="0" algn="l" defTabSz="914367" rtl="0" eaLnBrk="1" fontAlgn="auto" latinLnBrk="0" hangingPunct="1">
              <a:lnSpc>
                <a:spcPct val="80000"/>
              </a:lnSpc>
              <a:spcBef>
                <a:spcPts val="0"/>
              </a:spcBef>
              <a:spcAft>
                <a:spcPts val="588"/>
              </a:spcAft>
              <a:buClrTx/>
              <a:buSzTx/>
              <a:buFontTx/>
              <a:buNone/>
              <a:tabLst/>
              <a:defRPr/>
            </a:pPr>
            <a:r>
              <a:rPr kumimoji="0" lang="en-US" sz="2800" b="0" i="0" u="none" strike="noStrike" kern="1200" cap="none" spc="-98" normalizeH="0" baseline="0" noProof="0">
                <a:ln>
                  <a:noFill/>
                </a:ln>
                <a:solidFill>
                  <a:srgbClr val="0072C6"/>
                </a:solidFill>
                <a:effectLst/>
                <a:uLnTx/>
                <a:uFillTx/>
                <a:latin typeface="Segoe UI Semilight" panose="020B0402040204020203" pitchFamily="34" charset="0"/>
                <a:ea typeface="Segoe Semibold" charset="0"/>
                <a:cs typeface="Segoe UI Semilight" panose="020B0402040204020203" pitchFamily="34" charset="0"/>
              </a:rPr>
              <a:t>Vectors</a:t>
            </a:r>
          </a:p>
        </p:txBody>
      </p:sp>
      <p:grpSp>
        <p:nvGrpSpPr>
          <p:cNvPr id="15" name="Group 14">
            <a:extLst>
              <a:ext uri="{FF2B5EF4-FFF2-40B4-BE49-F238E27FC236}">
                <a16:creationId xmlns:a16="http://schemas.microsoft.com/office/drawing/2014/main" id="{EF6D6C9F-CC86-47F6-B1BC-8563936A3A3F}"/>
              </a:ext>
            </a:extLst>
          </p:cNvPr>
          <p:cNvGrpSpPr/>
          <p:nvPr/>
        </p:nvGrpSpPr>
        <p:grpSpPr>
          <a:xfrm>
            <a:off x="10479957" y="4803386"/>
            <a:ext cx="1098110" cy="1627149"/>
            <a:chOff x="10690101" y="4899207"/>
            <a:chExt cx="1120129" cy="1659777"/>
          </a:xfrm>
        </p:grpSpPr>
        <p:sp>
          <p:nvSpPr>
            <p:cNvPr id="120" name="Oval 119">
              <a:extLst>
                <a:ext uri="{FF2B5EF4-FFF2-40B4-BE49-F238E27FC236}">
                  <a16:creationId xmlns:a16="http://schemas.microsoft.com/office/drawing/2014/main" id="{A1A6CEC5-55AF-4D70-BFC6-6196C99ABB83}"/>
                </a:ext>
              </a:extLst>
            </p:cNvPr>
            <p:cNvSpPr/>
            <p:nvPr/>
          </p:nvSpPr>
          <p:spPr>
            <a:xfrm>
              <a:off x="10733422" y="4926313"/>
              <a:ext cx="1054966" cy="10549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1" name="Donut 48">
              <a:extLst>
                <a:ext uri="{FF2B5EF4-FFF2-40B4-BE49-F238E27FC236}">
                  <a16:creationId xmlns:a16="http://schemas.microsoft.com/office/drawing/2014/main" id="{B3226286-6C57-4985-B5F3-FAF2712B3DC9}"/>
                </a:ext>
              </a:extLst>
            </p:cNvPr>
            <p:cNvSpPr/>
            <p:nvPr/>
          </p:nvSpPr>
          <p:spPr>
            <a:xfrm>
              <a:off x="10690101" y="4899207"/>
              <a:ext cx="1120129" cy="1120129"/>
            </a:xfrm>
            <a:prstGeom prst="donut">
              <a:avLst>
                <a:gd name="adj" fmla="val 5791"/>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23" name="Group 122">
              <a:extLst>
                <a:ext uri="{FF2B5EF4-FFF2-40B4-BE49-F238E27FC236}">
                  <a16:creationId xmlns:a16="http://schemas.microsoft.com/office/drawing/2014/main" id="{E6E60B7D-F8FC-4DF8-814F-C61B86C89920}"/>
                </a:ext>
              </a:extLst>
            </p:cNvPr>
            <p:cNvGrpSpPr/>
            <p:nvPr/>
          </p:nvGrpSpPr>
          <p:grpSpPr>
            <a:xfrm>
              <a:off x="11085639" y="5150733"/>
              <a:ext cx="470267" cy="333663"/>
              <a:chOff x="3680165" y="1753475"/>
              <a:chExt cx="440739" cy="312712"/>
            </a:xfrm>
            <a:solidFill>
              <a:schemeClr val="accent1"/>
            </a:solidFill>
          </p:grpSpPr>
          <p:sp>
            <p:nvSpPr>
              <p:cNvPr id="125" name="Freeform 35">
                <a:extLst>
                  <a:ext uri="{FF2B5EF4-FFF2-40B4-BE49-F238E27FC236}">
                    <a16:creationId xmlns:a16="http://schemas.microsoft.com/office/drawing/2014/main" id="{AD70F064-C6D2-4AA8-9F39-8AF56987055D}"/>
                  </a:ext>
                </a:extLst>
              </p:cNvPr>
              <p:cNvSpPr>
                <a:spLocks/>
              </p:cNvSpPr>
              <p:nvPr/>
            </p:nvSpPr>
            <p:spPr bwMode="auto">
              <a:xfrm>
                <a:off x="3840567" y="1941102"/>
                <a:ext cx="50034" cy="46355"/>
              </a:xfrm>
              <a:custGeom>
                <a:avLst/>
                <a:gdLst>
                  <a:gd name="T0" fmla="*/ 204 w 272"/>
                  <a:gd name="T1" fmla="*/ 0 h 248"/>
                  <a:gd name="T2" fmla="*/ 220 w 272"/>
                  <a:gd name="T3" fmla="*/ 2 h 248"/>
                  <a:gd name="T4" fmla="*/ 237 w 272"/>
                  <a:gd name="T5" fmla="*/ 7 h 248"/>
                  <a:gd name="T6" fmla="*/ 250 w 272"/>
                  <a:gd name="T7" fmla="*/ 15 h 248"/>
                  <a:gd name="T8" fmla="*/ 261 w 272"/>
                  <a:gd name="T9" fmla="*/ 26 h 248"/>
                  <a:gd name="T10" fmla="*/ 268 w 272"/>
                  <a:gd name="T11" fmla="*/ 42 h 248"/>
                  <a:gd name="T12" fmla="*/ 272 w 272"/>
                  <a:gd name="T13" fmla="*/ 63 h 248"/>
                  <a:gd name="T14" fmla="*/ 272 w 272"/>
                  <a:gd name="T15" fmla="*/ 88 h 248"/>
                  <a:gd name="T16" fmla="*/ 267 w 272"/>
                  <a:gd name="T17" fmla="*/ 113 h 248"/>
                  <a:gd name="T18" fmla="*/ 257 w 272"/>
                  <a:gd name="T19" fmla="*/ 135 h 248"/>
                  <a:gd name="T20" fmla="*/ 245 w 272"/>
                  <a:gd name="T21" fmla="*/ 157 h 248"/>
                  <a:gd name="T22" fmla="*/ 230 w 272"/>
                  <a:gd name="T23" fmla="*/ 177 h 248"/>
                  <a:gd name="T24" fmla="*/ 212 w 272"/>
                  <a:gd name="T25" fmla="*/ 195 h 248"/>
                  <a:gd name="T26" fmla="*/ 192 w 272"/>
                  <a:gd name="T27" fmla="*/ 210 h 248"/>
                  <a:gd name="T28" fmla="*/ 172 w 272"/>
                  <a:gd name="T29" fmla="*/ 223 h 248"/>
                  <a:gd name="T30" fmla="*/ 150 w 272"/>
                  <a:gd name="T31" fmla="*/ 234 h 248"/>
                  <a:gd name="T32" fmla="*/ 129 w 272"/>
                  <a:gd name="T33" fmla="*/ 242 h 248"/>
                  <a:gd name="T34" fmla="*/ 107 w 272"/>
                  <a:gd name="T35" fmla="*/ 247 h 248"/>
                  <a:gd name="T36" fmla="*/ 87 w 272"/>
                  <a:gd name="T37" fmla="*/ 248 h 248"/>
                  <a:gd name="T38" fmla="*/ 69 w 272"/>
                  <a:gd name="T39" fmla="*/ 247 h 248"/>
                  <a:gd name="T40" fmla="*/ 53 w 272"/>
                  <a:gd name="T41" fmla="*/ 242 h 248"/>
                  <a:gd name="T42" fmla="*/ 40 w 272"/>
                  <a:gd name="T43" fmla="*/ 233 h 248"/>
                  <a:gd name="T44" fmla="*/ 30 w 272"/>
                  <a:gd name="T45" fmla="*/ 220 h 248"/>
                  <a:gd name="T46" fmla="*/ 24 w 272"/>
                  <a:gd name="T47" fmla="*/ 203 h 248"/>
                  <a:gd name="T48" fmla="*/ 19 w 272"/>
                  <a:gd name="T49" fmla="*/ 183 h 248"/>
                  <a:gd name="T50" fmla="*/ 15 w 272"/>
                  <a:gd name="T51" fmla="*/ 163 h 248"/>
                  <a:gd name="T52" fmla="*/ 9 w 272"/>
                  <a:gd name="T53" fmla="*/ 143 h 248"/>
                  <a:gd name="T54" fmla="*/ 5 w 272"/>
                  <a:gd name="T55" fmla="*/ 124 h 248"/>
                  <a:gd name="T56" fmla="*/ 1 w 272"/>
                  <a:gd name="T57" fmla="*/ 105 h 248"/>
                  <a:gd name="T58" fmla="*/ 0 w 272"/>
                  <a:gd name="T59" fmla="*/ 89 h 248"/>
                  <a:gd name="T60" fmla="*/ 0 w 272"/>
                  <a:gd name="T61" fmla="*/ 73 h 248"/>
                  <a:gd name="T62" fmla="*/ 4 w 272"/>
                  <a:gd name="T63" fmla="*/ 59 h 248"/>
                  <a:gd name="T64" fmla="*/ 11 w 272"/>
                  <a:gd name="T65" fmla="*/ 47 h 248"/>
                  <a:gd name="T66" fmla="*/ 22 w 272"/>
                  <a:gd name="T67" fmla="*/ 36 h 248"/>
                  <a:gd name="T68" fmla="*/ 36 w 272"/>
                  <a:gd name="T69" fmla="*/ 28 h 248"/>
                  <a:gd name="T70" fmla="*/ 56 w 272"/>
                  <a:gd name="T71" fmla="*/ 23 h 248"/>
                  <a:gd name="T72" fmla="*/ 76 w 272"/>
                  <a:gd name="T73" fmla="*/ 19 h 248"/>
                  <a:gd name="T74" fmla="*/ 98 w 272"/>
                  <a:gd name="T75" fmla="*/ 14 h 248"/>
                  <a:gd name="T76" fmla="*/ 120 w 272"/>
                  <a:gd name="T77" fmla="*/ 9 h 248"/>
                  <a:gd name="T78" fmla="*/ 142 w 272"/>
                  <a:gd name="T79" fmla="*/ 6 h 248"/>
                  <a:gd name="T80" fmla="*/ 163 w 272"/>
                  <a:gd name="T81" fmla="*/ 2 h 248"/>
                  <a:gd name="T82" fmla="*/ 184 w 272"/>
                  <a:gd name="T83" fmla="*/ 0 h 248"/>
                  <a:gd name="T84" fmla="*/ 204 w 272"/>
                  <a:gd name="T8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248">
                    <a:moveTo>
                      <a:pt x="204" y="0"/>
                    </a:moveTo>
                    <a:lnTo>
                      <a:pt x="220" y="2"/>
                    </a:lnTo>
                    <a:lnTo>
                      <a:pt x="237" y="7"/>
                    </a:lnTo>
                    <a:lnTo>
                      <a:pt x="250" y="15"/>
                    </a:lnTo>
                    <a:lnTo>
                      <a:pt x="261" y="26"/>
                    </a:lnTo>
                    <a:lnTo>
                      <a:pt x="268" y="42"/>
                    </a:lnTo>
                    <a:lnTo>
                      <a:pt x="272" y="63"/>
                    </a:lnTo>
                    <a:lnTo>
                      <a:pt x="272" y="88"/>
                    </a:lnTo>
                    <a:lnTo>
                      <a:pt x="267" y="113"/>
                    </a:lnTo>
                    <a:lnTo>
                      <a:pt x="257" y="135"/>
                    </a:lnTo>
                    <a:lnTo>
                      <a:pt x="245" y="157"/>
                    </a:lnTo>
                    <a:lnTo>
                      <a:pt x="230" y="177"/>
                    </a:lnTo>
                    <a:lnTo>
                      <a:pt x="212" y="195"/>
                    </a:lnTo>
                    <a:lnTo>
                      <a:pt x="192" y="210"/>
                    </a:lnTo>
                    <a:lnTo>
                      <a:pt x="172" y="223"/>
                    </a:lnTo>
                    <a:lnTo>
                      <a:pt x="150" y="234"/>
                    </a:lnTo>
                    <a:lnTo>
                      <a:pt x="129" y="242"/>
                    </a:lnTo>
                    <a:lnTo>
                      <a:pt x="107" y="247"/>
                    </a:lnTo>
                    <a:lnTo>
                      <a:pt x="87" y="248"/>
                    </a:lnTo>
                    <a:lnTo>
                      <a:pt x="69" y="247"/>
                    </a:lnTo>
                    <a:lnTo>
                      <a:pt x="53" y="242"/>
                    </a:lnTo>
                    <a:lnTo>
                      <a:pt x="40" y="233"/>
                    </a:lnTo>
                    <a:lnTo>
                      <a:pt x="30" y="220"/>
                    </a:lnTo>
                    <a:lnTo>
                      <a:pt x="24" y="203"/>
                    </a:lnTo>
                    <a:lnTo>
                      <a:pt x="19" y="183"/>
                    </a:lnTo>
                    <a:lnTo>
                      <a:pt x="15" y="163"/>
                    </a:lnTo>
                    <a:lnTo>
                      <a:pt x="9" y="143"/>
                    </a:lnTo>
                    <a:lnTo>
                      <a:pt x="5" y="124"/>
                    </a:lnTo>
                    <a:lnTo>
                      <a:pt x="1" y="105"/>
                    </a:lnTo>
                    <a:lnTo>
                      <a:pt x="0" y="89"/>
                    </a:lnTo>
                    <a:lnTo>
                      <a:pt x="0" y="73"/>
                    </a:lnTo>
                    <a:lnTo>
                      <a:pt x="4" y="59"/>
                    </a:lnTo>
                    <a:lnTo>
                      <a:pt x="11" y="47"/>
                    </a:lnTo>
                    <a:lnTo>
                      <a:pt x="22" y="36"/>
                    </a:lnTo>
                    <a:lnTo>
                      <a:pt x="36" y="28"/>
                    </a:lnTo>
                    <a:lnTo>
                      <a:pt x="56" y="23"/>
                    </a:lnTo>
                    <a:lnTo>
                      <a:pt x="76" y="19"/>
                    </a:lnTo>
                    <a:lnTo>
                      <a:pt x="98" y="14"/>
                    </a:lnTo>
                    <a:lnTo>
                      <a:pt x="120" y="9"/>
                    </a:lnTo>
                    <a:lnTo>
                      <a:pt x="142" y="6"/>
                    </a:lnTo>
                    <a:lnTo>
                      <a:pt x="163" y="2"/>
                    </a:lnTo>
                    <a:lnTo>
                      <a:pt x="184" y="0"/>
                    </a:lnTo>
                    <a:lnTo>
                      <a:pt x="204"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6" name="Freeform 36">
                <a:extLst>
                  <a:ext uri="{FF2B5EF4-FFF2-40B4-BE49-F238E27FC236}">
                    <a16:creationId xmlns:a16="http://schemas.microsoft.com/office/drawing/2014/main" id="{F4959ADD-0BFF-4506-BF0E-475FE96D51D3}"/>
                  </a:ext>
                </a:extLst>
              </p:cNvPr>
              <p:cNvSpPr>
                <a:spLocks/>
              </p:cNvSpPr>
              <p:nvPr/>
            </p:nvSpPr>
            <p:spPr bwMode="auto">
              <a:xfrm>
                <a:off x="3883243" y="1984514"/>
                <a:ext cx="33846" cy="37526"/>
              </a:xfrm>
              <a:custGeom>
                <a:avLst/>
                <a:gdLst>
                  <a:gd name="T0" fmla="*/ 91 w 183"/>
                  <a:gd name="T1" fmla="*/ 0 h 204"/>
                  <a:gd name="T2" fmla="*/ 105 w 183"/>
                  <a:gd name="T3" fmla="*/ 1 h 204"/>
                  <a:gd name="T4" fmla="*/ 115 w 183"/>
                  <a:gd name="T5" fmla="*/ 7 h 204"/>
                  <a:gd name="T6" fmla="*/ 124 w 183"/>
                  <a:gd name="T7" fmla="*/ 15 h 204"/>
                  <a:gd name="T8" fmla="*/ 131 w 183"/>
                  <a:gd name="T9" fmla="*/ 27 h 204"/>
                  <a:gd name="T10" fmla="*/ 179 w 183"/>
                  <a:gd name="T11" fmla="*/ 139 h 204"/>
                  <a:gd name="T12" fmla="*/ 183 w 183"/>
                  <a:gd name="T13" fmla="*/ 158 h 204"/>
                  <a:gd name="T14" fmla="*/ 182 w 183"/>
                  <a:gd name="T15" fmla="*/ 178 h 204"/>
                  <a:gd name="T16" fmla="*/ 175 w 183"/>
                  <a:gd name="T17" fmla="*/ 196 h 204"/>
                  <a:gd name="T18" fmla="*/ 166 w 183"/>
                  <a:gd name="T19" fmla="*/ 203 h 204"/>
                  <a:gd name="T20" fmla="*/ 159 w 183"/>
                  <a:gd name="T21" fmla="*/ 204 h 204"/>
                  <a:gd name="T22" fmla="*/ 152 w 183"/>
                  <a:gd name="T23" fmla="*/ 199 h 204"/>
                  <a:gd name="T24" fmla="*/ 145 w 183"/>
                  <a:gd name="T25" fmla="*/ 191 h 204"/>
                  <a:gd name="T26" fmla="*/ 137 w 183"/>
                  <a:gd name="T27" fmla="*/ 182 h 204"/>
                  <a:gd name="T28" fmla="*/ 128 w 183"/>
                  <a:gd name="T29" fmla="*/ 173 h 204"/>
                  <a:gd name="T30" fmla="*/ 119 w 183"/>
                  <a:gd name="T31" fmla="*/ 166 h 204"/>
                  <a:gd name="T32" fmla="*/ 109 w 183"/>
                  <a:gd name="T33" fmla="*/ 164 h 204"/>
                  <a:gd name="T34" fmla="*/ 75 w 183"/>
                  <a:gd name="T35" fmla="*/ 164 h 204"/>
                  <a:gd name="T36" fmla="*/ 64 w 183"/>
                  <a:gd name="T37" fmla="*/ 166 h 204"/>
                  <a:gd name="T38" fmla="*/ 55 w 183"/>
                  <a:gd name="T39" fmla="*/ 173 h 204"/>
                  <a:gd name="T40" fmla="*/ 46 w 183"/>
                  <a:gd name="T41" fmla="*/ 182 h 204"/>
                  <a:gd name="T42" fmla="*/ 39 w 183"/>
                  <a:gd name="T43" fmla="*/ 191 h 204"/>
                  <a:gd name="T44" fmla="*/ 31 w 183"/>
                  <a:gd name="T45" fmla="*/ 199 h 204"/>
                  <a:gd name="T46" fmla="*/ 24 w 183"/>
                  <a:gd name="T47" fmla="*/ 204 h 204"/>
                  <a:gd name="T48" fmla="*/ 16 w 183"/>
                  <a:gd name="T49" fmla="*/ 203 h 204"/>
                  <a:gd name="T50" fmla="*/ 9 w 183"/>
                  <a:gd name="T51" fmla="*/ 196 h 204"/>
                  <a:gd name="T52" fmla="*/ 2 w 183"/>
                  <a:gd name="T53" fmla="*/ 178 h 204"/>
                  <a:gd name="T54" fmla="*/ 0 w 183"/>
                  <a:gd name="T55" fmla="*/ 158 h 204"/>
                  <a:gd name="T56" fmla="*/ 5 w 183"/>
                  <a:gd name="T57" fmla="*/ 139 h 204"/>
                  <a:gd name="T58" fmla="*/ 53 w 183"/>
                  <a:gd name="T59" fmla="*/ 27 h 204"/>
                  <a:gd name="T60" fmla="*/ 59 w 183"/>
                  <a:gd name="T61" fmla="*/ 15 h 204"/>
                  <a:gd name="T62" fmla="*/ 69 w 183"/>
                  <a:gd name="T63" fmla="*/ 7 h 204"/>
                  <a:gd name="T64" fmla="*/ 80 w 183"/>
                  <a:gd name="T65" fmla="*/ 1 h 204"/>
                  <a:gd name="T66" fmla="*/ 91 w 183"/>
                  <a:gd name="T6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204">
                    <a:moveTo>
                      <a:pt x="91" y="0"/>
                    </a:moveTo>
                    <a:lnTo>
                      <a:pt x="105" y="1"/>
                    </a:lnTo>
                    <a:lnTo>
                      <a:pt x="115" y="7"/>
                    </a:lnTo>
                    <a:lnTo>
                      <a:pt x="124" y="15"/>
                    </a:lnTo>
                    <a:lnTo>
                      <a:pt x="131" y="27"/>
                    </a:lnTo>
                    <a:lnTo>
                      <a:pt x="179" y="139"/>
                    </a:lnTo>
                    <a:lnTo>
                      <a:pt x="183" y="158"/>
                    </a:lnTo>
                    <a:lnTo>
                      <a:pt x="182" y="178"/>
                    </a:lnTo>
                    <a:lnTo>
                      <a:pt x="175" y="196"/>
                    </a:lnTo>
                    <a:lnTo>
                      <a:pt x="166" y="203"/>
                    </a:lnTo>
                    <a:lnTo>
                      <a:pt x="159" y="204"/>
                    </a:lnTo>
                    <a:lnTo>
                      <a:pt x="152" y="199"/>
                    </a:lnTo>
                    <a:lnTo>
                      <a:pt x="145" y="191"/>
                    </a:lnTo>
                    <a:lnTo>
                      <a:pt x="137" y="182"/>
                    </a:lnTo>
                    <a:lnTo>
                      <a:pt x="128" y="173"/>
                    </a:lnTo>
                    <a:lnTo>
                      <a:pt x="119" y="166"/>
                    </a:lnTo>
                    <a:lnTo>
                      <a:pt x="109" y="164"/>
                    </a:lnTo>
                    <a:lnTo>
                      <a:pt x="75" y="164"/>
                    </a:lnTo>
                    <a:lnTo>
                      <a:pt x="64" y="166"/>
                    </a:lnTo>
                    <a:lnTo>
                      <a:pt x="55" y="173"/>
                    </a:lnTo>
                    <a:lnTo>
                      <a:pt x="46" y="182"/>
                    </a:lnTo>
                    <a:lnTo>
                      <a:pt x="39" y="191"/>
                    </a:lnTo>
                    <a:lnTo>
                      <a:pt x="31" y="199"/>
                    </a:lnTo>
                    <a:lnTo>
                      <a:pt x="24" y="204"/>
                    </a:lnTo>
                    <a:lnTo>
                      <a:pt x="16" y="203"/>
                    </a:lnTo>
                    <a:lnTo>
                      <a:pt x="9" y="196"/>
                    </a:lnTo>
                    <a:lnTo>
                      <a:pt x="2" y="178"/>
                    </a:lnTo>
                    <a:lnTo>
                      <a:pt x="0" y="158"/>
                    </a:lnTo>
                    <a:lnTo>
                      <a:pt x="5" y="139"/>
                    </a:lnTo>
                    <a:lnTo>
                      <a:pt x="53" y="27"/>
                    </a:lnTo>
                    <a:lnTo>
                      <a:pt x="59" y="15"/>
                    </a:lnTo>
                    <a:lnTo>
                      <a:pt x="69" y="7"/>
                    </a:lnTo>
                    <a:lnTo>
                      <a:pt x="80" y="1"/>
                    </a:lnTo>
                    <a:lnTo>
                      <a:pt x="91"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7" name="Freeform 37">
                <a:extLst>
                  <a:ext uri="{FF2B5EF4-FFF2-40B4-BE49-F238E27FC236}">
                    <a16:creationId xmlns:a16="http://schemas.microsoft.com/office/drawing/2014/main" id="{7BD50251-0302-483A-BFF2-5F95375EBA4D}"/>
                  </a:ext>
                </a:extLst>
              </p:cNvPr>
              <p:cNvSpPr>
                <a:spLocks/>
              </p:cNvSpPr>
              <p:nvPr/>
            </p:nvSpPr>
            <p:spPr bwMode="auto">
              <a:xfrm>
                <a:off x="3910467" y="1941102"/>
                <a:ext cx="50034" cy="46355"/>
              </a:xfrm>
              <a:custGeom>
                <a:avLst/>
                <a:gdLst>
                  <a:gd name="T0" fmla="*/ 69 w 272"/>
                  <a:gd name="T1" fmla="*/ 0 h 248"/>
                  <a:gd name="T2" fmla="*/ 90 w 272"/>
                  <a:gd name="T3" fmla="*/ 0 h 248"/>
                  <a:gd name="T4" fmla="*/ 110 w 272"/>
                  <a:gd name="T5" fmla="*/ 2 h 248"/>
                  <a:gd name="T6" fmla="*/ 131 w 272"/>
                  <a:gd name="T7" fmla="*/ 6 h 248"/>
                  <a:gd name="T8" fmla="*/ 153 w 272"/>
                  <a:gd name="T9" fmla="*/ 9 h 248"/>
                  <a:gd name="T10" fmla="*/ 174 w 272"/>
                  <a:gd name="T11" fmla="*/ 14 h 248"/>
                  <a:gd name="T12" fmla="*/ 196 w 272"/>
                  <a:gd name="T13" fmla="*/ 19 h 248"/>
                  <a:gd name="T14" fmla="*/ 216 w 272"/>
                  <a:gd name="T15" fmla="*/ 23 h 248"/>
                  <a:gd name="T16" fmla="*/ 235 w 272"/>
                  <a:gd name="T17" fmla="*/ 28 h 248"/>
                  <a:gd name="T18" fmla="*/ 250 w 272"/>
                  <a:gd name="T19" fmla="*/ 36 h 248"/>
                  <a:gd name="T20" fmla="*/ 261 w 272"/>
                  <a:gd name="T21" fmla="*/ 47 h 248"/>
                  <a:gd name="T22" fmla="*/ 268 w 272"/>
                  <a:gd name="T23" fmla="*/ 60 h 248"/>
                  <a:gd name="T24" fmla="*/ 271 w 272"/>
                  <a:gd name="T25" fmla="*/ 75 h 248"/>
                  <a:gd name="T26" fmla="*/ 272 w 272"/>
                  <a:gd name="T27" fmla="*/ 90 h 248"/>
                  <a:gd name="T28" fmla="*/ 271 w 272"/>
                  <a:gd name="T29" fmla="*/ 108 h 248"/>
                  <a:gd name="T30" fmla="*/ 267 w 272"/>
                  <a:gd name="T31" fmla="*/ 126 h 248"/>
                  <a:gd name="T32" fmla="*/ 262 w 272"/>
                  <a:gd name="T33" fmla="*/ 145 h 248"/>
                  <a:gd name="T34" fmla="*/ 257 w 272"/>
                  <a:gd name="T35" fmla="*/ 164 h 248"/>
                  <a:gd name="T36" fmla="*/ 253 w 272"/>
                  <a:gd name="T37" fmla="*/ 184 h 248"/>
                  <a:gd name="T38" fmla="*/ 248 w 272"/>
                  <a:gd name="T39" fmla="*/ 203 h 248"/>
                  <a:gd name="T40" fmla="*/ 242 w 272"/>
                  <a:gd name="T41" fmla="*/ 220 h 248"/>
                  <a:gd name="T42" fmla="*/ 232 w 272"/>
                  <a:gd name="T43" fmla="*/ 233 h 248"/>
                  <a:gd name="T44" fmla="*/ 219 w 272"/>
                  <a:gd name="T45" fmla="*/ 242 h 248"/>
                  <a:gd name="T46" fmla="*/ 203 w 272"/>
                  <a:gd name="T47" fmla="*/ 247 h 248"/>
                  <a:gd name="T48" fmla="*/ 185 w 272"/>
                  <a:gd name="T49" fmla="*/ 248 h 248"/>
                  <a:gd name="T50" fmla="*/ 165 w 272"/>
                  <a:gd name="T51" fmla="*/ 247 h 248"/>
                  <a:gd name="T52" fmla="*/ 143 w 272"/>
                  <a:gd name="T53" fmla="*/ 242 h 248"/>
                  <a:gd name="T54" fmla="*/ 122 w 272"/>
                  <a:gd name="T55" fmla="*/ 234 h 248"/>
                  <a:gd name="T56" fmla="*/ 100 w 272"/>
                  <a:gd name="T57" fmla="*/ 223 h 248"/>
                  <a:gd name="T58" fmla="*/ 80 w 272"/>
                  <a:gd name="T59" fmla="*/ 210 h 248"/>
                  <a:gd name="T60" fmla="*/ 60 w 272"/>
                  <a:gd name="T61" fmla="*/ 195 h 248"/>
                  <a:gd name="T62" fmla="*/ 42 w 272"/>
                  <a:gd name="T63" fmla="*/ 177 h 248"/>
                  <a:gd name="T64" fmla="*/ 27 w 272"/>
                  <a:gd name="T65" fmla="*/ 157 h 248"/>
                  <a:gd name="T66" fmla="*/ 15 w 272"/>
                  <a:gd name="T67" fmla="*/ 135 h 248"/>
                  <a:gd name="T68" fmla="*/ 5 w 272"/>
                  <a:gd name="T69" fmla="*/ 113 h 248"/>
                  <a:gd name="T70" fmla="*/ 0 w 272"/>
                  <a:gd name="T71" fmla="*/ 88 h 248"/>
                  <a:gd name="T72" fmla="*/ 0 w 272"/>
                  <a:gd name="T73" fmla="*/ 63 h 248"/>
                  <a:gd name="T74" fmla="*/ 4 w 272"/>
                  <a:gd name="T75" fmla="*/ 41 h 248"/>
                  <a:gd name="T76" fmla="*/ 11 w 272"/>
                  <a:gd name="T77" fmla="*/ 26 h 248"/>
                  <a:gd name="T78" fmla="*/ 22 w 272"/>
                  <a:gd name="T79" fmla="*/ 14 h 248"/>
                  <a:gd name="T80" fmla="*/ 36 w 272"/>
                  <a:gd name="T81" fmla="*/ 7 h 248"/>
                  <a:gd name="T82" fmla="*/ 52 w 272"/>
                  <a:gd name="T83" fmla="*/ 2 h 248"/>
                  <a:gd name="T84" fmla="*/ 69 w 272"/>
                  <a:gd name="T8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248">
                    <a:moveTo>
                      <a:pt x="69" y="0"/>
                    </a:moveTo>
                    <a:lnTo>
                      <a:pt x="90" y="0"/>
                    </a:lnTo>
                    <a:lnTo>
                      <a:pt x="110" y="2"/>
                    </a:lnTo>
                    <a:lnTo>
                      <a:pt x="131" y="6"/>
                    </a:lnTo>
                    <a:lnTo>
                      <a:pt x="153" y="9"/>
                    </a:lnTo>
                    <a:lnTo>
                      <a:pt x="174" y="14"/>
                    </a:lnTo>
                    <a:lnTo>
                      <a:pt x="196" y="19"/>
                    </a:lnTo>
                    <a:lnTo>
                      <a:pt x="216" y="23"/>
                    </a:lnTo>
                    <a:lnTo>
                      <a:pt x="235" y="28"/>
                    </a:lnTo>
                    <a:lnTo>
                      <a:pt x="250" y="36"/>
                    </a:lnTo>
                    <a:lnTo>
                      <a:pt x="261" y="47"/>
                    </a:lnTo>
                    <a:lnTo>
                      <a:pt x="268" y="60"/>
                    </a:lnTo>
                    <a:lnTo>
                      <a:pt x="271" y="75"/>
                    </a:lnTo>
                    <a:lnTo>
                      <a:pt x="272" y="90"/>
                    </a:lnTo>
                    <a:lnTo>
                      <a:pt x="271" y="108"/>
                    </a:lnTo>
                    <a:lnTo>
                      <a:pt x="267" y="126"/>
                    </a:lnTo>
                    <a:lnTo>
                      <a:pt x="262" y="145"/>
                    </a:lnTo>
                    <a:lnTo>
                      <a:pt x="257" y="164"/>
                    </a:lnTo>
                    <a:lnTo>
                      <a:pt x="253" y="184"/>
                    </a:lnTo>
                    <a:lnTo>
                      <a:pt x="248" y="203"/>
                    </a:lnTo>
                    <a:lnTo>
                      <a:pt x="242" y="220"/>
                    </a:lnTo>
                    <a:lnTo>
                      <a:pt x="232" y="233"/>
                    </a:lnTo>
                    <a:lnTo>
                      <a:pt x="219" y="242"/>
                    </a:lnTo>
                    <a:lnTo>
                      <a:pt x="203" y="247"/>
                    </a:lnTo>
                    <a:lnTo>
                      <a:pt x="185" y="248"/>
                    </a:lnTo>
                    <a:lnTo>
                      <a:pt x="165" y="247"/>
                    </a:lnTo>
                    <a:lnTo>
                      <a:pt x="143" y="242"/>
                    </a:lnTo>
                    <a:lnTo>
                      <a:pt x="122" y="234"/>
                    </a:lnTo>
                    <a:lnTo>
                      <a:pt x="100" y="223"/>
                    </a:lnTo>
                    <a:lnTo>
                      <a:pt x="80" y="210"/>
                    </a:lnTo>
                    <a:lnTo>
                      <a:pt x="60" y="195"/>
                    </a:lnTo>
                    <a:lnTo>
                      <a:pt x="42" y="177"/>
                    </a:lnTo>
                    <a:lnTo>
                      <a:pt x="27" y="157"/>
                    </a:lnTo>
                    <a:lnTo>
                      <a:pt x="15" y="135"/>
                    </a:lnTo>
                    <a:lnTo>
                      <a:pt x="5" y="113"/>
                    </a:lnTo>
                    <a:lnTo>
                      <a:pt x="0" y="88"/>
                    </a:lnTo>
                    <a:lnTo>
                      <a:pt x="0" y="63"/>
                    </a:lnTo>
                    <a:lnTo>
                      <a:pt x="4" y="41"/>
                    </a:lnTo>
                    <a:lnTo>
                      <a:pt x="11" y="26"/>
                    </a:lnTo>
                    <a:lnTo>
                      <a:pt x="22" y="14"/>
                    </a:lnTo>
                    <a:lnTo>
                      <a:pt x="36" y="7"/>
                    </a:lnTo>
                    <a:lnTo>
                      <a:pt x="52" y="2"/>
                    </a:lnTo>
                    <a:lnTo>
                      <a:pt x="6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28" name="Freeform 38">
                <a:extLst>
                  <a:ext uri="{FF2B5EF4-FFF2-40B4-BE49-F238E27FC236}">
                    <a16:creationId xmlns:a16="http://schemas.microsoft.com/office/drawing/2014/main" id="{1D1020C4-4A53-4715-AB39-F7C7A6ECC375}"/>
                  </a:ext>
                </a:extLst>
              </p:cNvPr>
              <p:cNvSpPr>
                <a:spLocks noEditPoints="1"/>
              </p:cNvSpPr>
              <p:nvPr/>
            </p:nvSpPr>
            <p:spPr bwMode="auto">
              <a:xfrm>
                <a:off x="3680165" y="1753475"/>
                <a:ext cx="440739" cy="312712"/>
              </a:xfrm>
              <a:custGeom>
                <a:avLst/>
                <a:gdLst>
                  <a:gd name="T0" fmla="*/ 1018 w 2396"/>
                  <a:gd name="T1" fmla="*/ 609 h 1701"/>
                  <a:gd name="T2" fmla="*/ 849 w 2396"/>
                  <a:gd name="T3" fmla="*/ 713 h 1701"/>
                  <a:gd name="T4" fmla="*/ 755 w 2396"/>
                  <a:gd name="T5" fmla="*/ 900 h 1701"/>
                  <a:gd name="T6" fmla="*/ 757 w 2396"/>
                  <a:gd name="T7" fmla="*/ 1175 h 1701"/>
                  <a:gd name="T8" fmla="*/ 790 w 2396"/>
                  <a:gd name="T9" fmla="*/ 1413 h 1701"/>
                  <a:gd name="T10" fmla="*/ 820 w 2396"/>
                  <a:gd name="T11" fmla="*/ 1500 h 1701"/>
                  <a:gd name="T12" fmla="*/ 909 w 2396"/>
                  <a:gd name="T13" fmla="*/ 1517 h 1701"/>
                  <a:gd name="T14" fmla="*/ 977 w 2396"/>
                  <a:gd name="T15" fmla="*/ 1538 h 1701"/>
                  <a:gd name="T16" fmla="*/ 1025 w 2396"/>
                  <a:gd name="T17" fmla="*/ 1603 h 1701"/>
                  <a:gd name="T18" fmla="*/ 1240 w 2396"/>
                  <a:gd name="T19" fmla="*/ 1624 h 1701"/>
                  <a:gd name="T20" fmla="*/ 1400 w 2396"/>
                  <a:gd name="T21" fmla="*/ 1590 h 1701"/>
                  <a:gd name="T22" fmla="*/ 1420 w 2396"/>
                  <a:gd name="T23" fmla="*/ 1527 h 1701"/>
                  <a:gd name="T24" fmla="*/ 1500 w 2396"/>
                  <a:gd name="T25" fmla="*/ 1517 h 1701"/>
                  <a:gd name="T26" fmla="*/ 1581 w 2396"/>
                  <a:gd name="T27" fmla="*/ 1497 h 1701"/>
                  <a:gd name="T28" fmla="*/ 1604 w 2396"/>
                  <a:gd name="T29" fmla="*/ 1412 h 1701"/>
                  <a:gd name="T30" fmla="*/ 1638 w 2396"/>
                  <a:gd name="T31" fmla="*/ 1168 h 1701"/>
                  <a:gd name="T32" fmla="*/ 1643 w 2396"/>
                  <a:gd name="T33" fmla="*/ 892 h 1701"/>
                  <a:gd name="T34" fmla="*/ 1550 w 2396"/>
                  <a:gd name="T35" fmla="*/ 708 h 1701"/>
                  <a:gd name="T36" fmla="*/ 1377 w 2396"/>
                  <a:gd name="T37" fmla="*/ 608 h 1701"/>
                  <a:gd name="T38" fmla="*/ 1195 w 2396"/>
                  <a:gd name="T39" fmla="*/ 584 h 1701"/>
                  <a:gd name="T40" fmla="*/ 1810 w 2396"/>
                  <a:gd name="T41" fmla="*/ 56 h 1701"/>
                  <a:gd name="T42" fmla="*/ 2032 w 2396"/>
                  <a:gd name="T43" fmla="*/ 255 h 1701"/>
                  <a:gd name="T44" fmla="*/ 2118 w 2396"/>
                  <a:gd name="T45" fmla="*/ 547 h 1701"/>
                  <a:gd name="T46" fmla="*/ 2062 w 2396"/>
                  <a:gd name="T47" fmla="*/ 780 h 1701"/>
                  <a:gd name="T48" fmla="*/ 1915 w 2396"/>
                  <a:gd name="T49" fmla="*/ 928 h 1701"/>
                  <a:gd name="T50" fmla="*/ 2135 w 2396"/>
                  <a:gd name="T51" fmla="*/ 821 h 1701"/>
                  <a:gd name="T52" fmla="*/ 2322 w 2396"/>
                  <a:gd name="T53" fmla="*/ 923 h 1701"/>
                  <a:gd name="T54" fmla="*/ 2396 w 2396"/>
                  <a:gd name="T55" fmla="*/ 1165 h 1701"/>
                  <a:gd name="T56" fmla="*/ 2319 w 2396"/>
                  <a:gd name="T57" fmla="*/ 1413 h 1701"/>
                  <a:gd name="T58" fmla="*/ 2119 w 2396"/>
                  <a:gd name="T59" fmla="*/ 1570 h 1701"/>
                  <a:gd name="T60" fmla="*/ 1918 w 2396"/>
                  <a:gd name="T61" fmla="*/ 1616 h 1701"/>
                  <a:gd name="T62" fmla="*/ 1844 w 2396"/>
                  <a:gd name="T63" fmla="*/ 1642 h 1701"/>
                  <a:gd name="T64" fmla="*/ 1700 w 2396"/>
                  <a:gd name="T65" fmla="*/ 1629 h 1701"/>
                  <a:gd name="T66" fmla="*/ 1538 w 2396"/>
                  <a:gd name="T67" fmla="*/ 1642 h 1701"/>
                  <a:gd name="T68" fmla="*/ 1394 w 2396"/>
                  <a:gd name="T69" fmla="*/ 1667 h 1701"/>
                  <a:gd name="T70" fmla="*/ 1322 w 2396"/>
                  <a:gd name="T71" fmla="*/ 1682 h 1701"/>
                  <a:gd name="T72" fmla="*/ 1239 w 2396"/>
                  <a:gd name="T73" fmla="*/ 1692 h 1701"/>
                  <a:gd name="T74" fmla="*/ 1058 w 2396"/>
                  <a:gd name="T75" fmla="*/ 1701 h 1701"/>
                  <a:gd name="T76" fmla="*/ 874 w 2396"/>
                  <a:gd name="T77" fmla="*/ 1670 h 1701"/>
                  <a:gd name="T78" fmla="*/ 686 w 2396"/>
                  <a:gd name="T79" fmla="*/ 1632 h 1701"/>
                  <a:gd name="T80" fmla="*/ 532 w 2396"/>
                  <a:gd name="T81" fmla="*/ 1597 h 1701"/>
                  <a:gd name="T82" fmla="*/ 437 w 2396"/>
                  <a:gd name="T83" fmla="*/ 1533 h 1701"/>
                  <a:gd name="T84" fmla="*/ 426 w 2396"/>
                  <a:gd name="T85" fmla="*/ 1401 h 1701"/>
                  <a:gd name="T86" fmla="*/ 365 w 2396"/>
                  <a:gd name="T87" fmla="*/ 1514 h 1701"/>
                  <a:gd name="T88" fmla="*/ 202 w 2396"/>
                  <a:gd name="T89" fmla="*/ 1551 h 1701"/>
                  <a:gd name="T90" fmla="*/ 32 w 2396"/>
                  <a:gd name="T91" fmla="*/ 1364 h 1701"/>
                  <a:gd name="T92" fmla="*/ 13 w 2396"/>
                  <a:gd name="T93" fmla="*/ 1105 h 1701"/>
                  <a:gd name="T94" fmla="*/ 154 w 2396"/>
                  <a:gd name="T95" fmla="*/ 898 h 1701"/>
                  <a:gd name="T96" fmla="*/ 401 w 2396"/>
                  <a:gd name="T97" fmla="*/ 815 h 1701"/>
                  <a:gd name="T98" fmla="*/ 478 w 2396"/>
                  <a:gd name="T99" fmla="*/ 558 h 1701"/>
                  <a:gd name="T100" fmla="*/ 680 w 2396"/>
                  <a:gd name="T101" fmla="*/ 397 h 1701"/>
                  <a:gd name="T102" fmla="*/ 928 w 2396"/>
                  <a:gd name="T103" fmla="*/ 377 h 1701"/>
                  <a:gd name="T104" fmla="*/ 1111 w 2396"/>
                  <a:gd name="T105" fmla="*/ 249 h 1701"/>
                  <a:gd name="T106" fmla="*/ 1307 w 2396"/>
                  <a:gd name="T107" fmla="*/ 67 h 1701"/>
                  <a:gd name="T108" fmla="*/ 1570 w 2396"/>
                  <a:gd name="T109" fmla="*/ 0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96" h="1701">
                    <a:moveTo>
                      <a:pt x="1195" y="584"/>
                    </a:moveTo>
                    <a:lnTo>
                      <a:pt x="1149" y="585"/>
                    </a:lnTo>
                    <a:lnTo>
                      <a:pt x="1103" y="590"/>
                    </a:lnTo>
                    <a:lnTo>
                      <a:pt x="1059" y="597"/>
                    </a:lnTo>
                    <a:lnTo>
                      <a:pt x="1018" y="609"/>
                    </a:lnTo>
                    <a:lnTo>
                      <a:pt x="978" y="623"/>
                    </a:lnTo>
                    <a:lnTo>
                      <a:pt x="943" y="641"/>
                    </a:lnTo>
                    <a:lnTo>
                      <a:pt x="908" y="661"/>
                    </a:lnTo>
                    <a:lnTo>
                      <a:pt x="877" y="685"/>
                    </a:lnTo>
                    <a:lnTo>
                      <a:pt x="849" y="713"/>
                    </a:lnTo>
                    <a:lnTo>
                      <a:pt x="822" y="743"/>
                    </a:lnTo>
                    <a:lnTo>
                      <a:pt x="801" y="778"/>
                    </a:lnTo>
                    <a:lnTo>
                      <a:pt x="782" y="816"/>
                    </a:lnTo>
                    <a:lnTo>
                      <a:pt x="767" y="856"/>
                    </a:lnTo>
                    <a:lnTo>
                      <a:pt x="755" y="900"/>
                    </a:lnTo>
                    <a:lnTo>
                      <a:pt x="746" y="948"/>
                    </a:lnTo>
                    <a:lnTo>
                      <a:pt x="743" y="999"/>
                    </a:lnTo>
                    <a:lnTo>
                      <a:pt x="743" y="1055"/>
                    </a:lnTo>
                    <a:lnTo>
                      <a:pt x="747" y="1113"/>
                    </a:lnTo>
                    <a:lnTo>
                      <a:pt x="757" y="1175"/>
                    </a:lnTo>
                    <a:lnTo>
                      <a:pt x="770" y="1240"/>
                    </a:lnTo>
                    <a:lnTo>
                      <a:pt x="789" y="1309"/>
                    </a:lnTo>
                    <a:lnTo>
                      <a:pt x="812" y="1382"/>
                    </a:lnTo>
                    <a:lnTo>
                      <a:pt x="799" y="1396"/>
                    </a:lnTo>
                    <a:lnTo>
                      <a:pt x="790" y="1413"/>
                    </a:lnTo>
                    <a:lnTo>
                      <a:pt x="788" y="1432"/>
                    </a:lnTo>
                    <a:lnTo>
                      <a:pt x="790" y="1454"/>
                    </a:lnTo>
                    <a:lnTo>
                      <a:pt x="796" y="1473"/>
                    </a:lnTo>
                    <a:lnTo>
                      <a:pt x="807" y="1489"/>
                    </a:lnTo>
                    <a:lnTo>
                      <a:pt x="820" y="1500"/>
                    </a:lnTo>
                    <a:lnTo>
                      <a:pt x="836" y="1508"/>
                    </a:lnTo>
                    <a:lnTo>
                      <a:pt x="852" y="1514"/>
                    </a:lnTo>
                    <a:lnTo>
                      <a:pt x="871" y="1516"/>
                    </a:lnTo>
                    <a:lnTo>
                      <a:pt x="890" y="1517"/>
                    </a:lnTo>
                    <a:lnTo>
                      <a:pt x="909" y="1517"/>
                    </a:lnTo>
                    <a:lnTo>
                      <a:pt x="927" y="1515"/>
                    </a:lnTo>
                    <a:lnTo>
                      <a:pt x="943" y="1515"/>
                    </a:lnTo>
                    <a:lnTo>
                      <a:pt x="958" y="1520"/>
                    </a:lnTo>
                    <a:lnTo>
                      <a:pt x="971" y="1528"/>
                    </a:lnTo>
                    <a:lnTo>
                      <a:pt x="977" y="1538"/>
                    </a:lnTo>
                    <a:lnTo>
                      <a:pt x="983" y="1551"/>
                    </a:lnTo>
                    <a:lnTo>
                      <a:pt x="987" y="1565"/>
                    </a:lnTo>
                    <a:lnTo>
                      <a:pt x="989" y="1579"/>
                    </a:lnTo>
                    <a:lnTo>
                      <a:pt x="990" y="1591"/>
                    </a:lnTo>
                    <a:lnTo>
                      <a:pt x="1025" y="1603"/>
                    </a:lnTo>
                    <a:lnTo>
                      <a:pt x="1064" y="1613"/>
                    </a:lnTo>
                    <a:lnTo>
                      <a:pt x="1106" y="1620"/>
                    </a:lnTo>
                    <a:lnTo>
                      <a:pt x="1150" y="1624"/>
                    </a:lnTo>
                    <a:lnTo>
                      <a:pt x="1195" y="1626"/>
                    </a:lnTo>
                    <a:lnTo>
                      <a:pt x="1240" y="1624"/>
                    </a:lnTo>
                    <a:lnTo>
                      <a:pt x="1285" y="1620"/>
                    </a:lnTo>
                    <a:lnTo>
                      <a:pt x="1327" y="1613"/>
                    </a:lnTo>
                    <a:lnTo>
                      <a:pt x="1366" y="1603"/>
                    </a:lnTo>
                    <a:lnTo>
                      <a:pt x="1400" y="1591"/>
                    </a:lnTo>
                    <a:lnTo>
                      <a:pt x="1400" y="1590"/>
                    </a:lnTo>
                    <a:lnTo>
                      <a:pt x="1401" y="1578"/>
                    </a:lnTo>
                    <a:lnTo>
                      <a:pt x="1403" y="1564"/>
                    </a:lnTo>
                    <a:lnTo>
                      <a:pt x="1408" y="1550"/>
                    </a:lnTo>
                    <a:lnTo>
                      <a:pt x="1414" y="1536"/>
                    </a:lnTo>
                    <a:lnTo>
                      <a:pt x="1420" y="1527"/>
                    </a:lnTo>
                    <a:lnTo>
                      <a:pt x="1433" y="1519"/>
                    </a:lnTo>
                    <a:lnTo>
                      <a:pt x="1449" y="1514"/>
                    </a:lnTo>
                    <a:lnTo>
                      <a:pt x="1464" y="1515"/>
                    </a:lnTo>
                    <a:lnTo>
                      <a:pt x="1482" y="1516"/>
                    </a:lnTo>
                    <a:lnTo>
                      <a:pt x="1500" y="1517"/>
                    </a:lnTo>
                    <a:lnTo>
                      <a:pt x="1518" y="1517"/>
                    </a:lnTo>
                    <a:lnTo>
                      <a:pt x="1534" y="1515"/>
                    </a:lnTo>
                    <a:lnTo>
                      <a:pt x="1551" y="1511"/>
                    </a:lnTo>
                    <a:lnTo>
                      <a:pt x="1566" y="1506"/>
                    </a:lnTo>
                    <a:lnTo>
                      <a:pt x="1581" y="1497"/>
                    </a:lnTo>
                    <a:lnTo>
                      <a:pt x="1591" y="1485"/>
                    </a:lnTo>
                    <a:lnTo>
                      <a:pt x="1600" y="1471"/>
                    </a:lnTo>
                    <a:lnTo>
                      <a:pt x="1606" y="1453"/>
                    </a:lnTo>
                    <a:lnTo>
                      <a:pt x="1608" y="1432"/>
                    </a:lnTo>
                    <a:lnTo>
                      <a:pt x="1604" y="1412"/>
                    </a:lnTo>
                    <a:lnTo>
                      <a:pt x="1595" y="1394"/>
                    </a:lnTo>
                    <a:lnTo>
                      <a:pt x="1581" y="1378"/>
                    </a:lnTo>
                    <a:lnTo>
                      <a:pt x="1604" y="1305"/>
                    </a:lnTo>
                    <a:lnTo>
                      <a:pt x="1624" y="1233"/>
                    </a:lnTo>
                    <a:lnTo>
                      <a:pt x="1638" y="1168"/>
                    </a:lnTo>
                    <a:lnTo>
                      <a:pt x="1647" y="1105"/>
                    </a:lnTo>
                    <a:lnTo>
                      <a:pt x="1652" y="1047"/>
                    </a:lnTo>
                    <a:lnTo>
                      <a:pt x="1653" y="991"/>
                    </a:lnTo>
                    <a:lnTo>
                      <a:pt x="1650" y="940"/>
                    </a:lnTo>
                    <a:lnTo>
                      <a:pt x="1643" y="892"/>
                    </a:lnTo>
                    <a:lnTo>
                      <a:pt x="1631" y="848"/>
                    </a:lnTo>
                    <a:lnTo>
                      <a:pt x="1615" y="808"/>
                    </a:lnTo>
                    <a:lnTo>
                      <a:pt x="1597" y="771"/>
                    </a:lnTo>
                    <a:lnTo>
                      <a:pt x="1575" y="737"/>
                    </a:lnTo>
                    <a:lnTo>
                      <a:pt x="1550" y="708"/>
                    </a:lnTo>
                    <a:lnTo>
                      <a:pt x="1521" y="682"/>
                    </a:lnTo>
                    <a:lnTo>
                      <a:pt x="1489" y="658"/>
                    </a:lnTo>
                    <a:lnTo>
                      <a:pt x="1455" y="638"/>
                    </a:lnTo>
                    <a:lnTo>
                      <a:pt x="1418" y="621"/>
                    </a:lnTo>
                    <a:lnTo>
                      <a:pt x="1377" y="608"/>
                    </a:lnTo>
                    <a:lnTo>
                      <a:pt x="1335" y="597"/>
                    </a:lnTo>
                    <a:lnTo>
                      <a:pt x="1290" y="590"/>
                    </a:lnTo>
                    <a:lnTo>
                      <a:pt x="1244" y="585"/>
                    </a:lnTo>
                    <a:lnTo>
                      <a:pt x="1196" y="584"/>
                    </a:lnTo>
                    <a:lnTo>
                      <a:pt x="1195" y="584"/>
                    </a:lnTo>
                    <a:close/>
                    <a:moveTo>
                      <a:pt x="1570" y="0"/>
                    </a:moveTo>
                    <a:lnTo>
                      <a:pt x="1634" y="4"/>
                    </a:lnTo>
                    <a:lnTo>
                      <a:pt x="1696" y="15"/>
                    </a:lnTo>
                    <a:lnTo>
                      <a:pt x="1754" y="32"/>
                    </a:lnTo>
                    <a:lnTo>
                      <a:pt x="1810" y="56"/>
                    </a:lnTo>
                    <a:lnTo>
                      <a:pt x="1864" y="86"/>
                    </a:lnTo>
                    <a:lnTo>
                      <a:pt x="1913" y="120"/>
                    </a:lnTo>
                    <a:lnTo>
                      <a:pt x="1957" y="161"/>
                    </a:lnTo>
                    <a:lnTo>
                      <a:pt x="1997" y="206"/>
                    </a:lnTo>
                    <a:lnTo>
                      <a:pt x="2032" y="255"/>
                    </a:lnTo>
                    <a:lnTo>
                      <a:pt x="2062" y="307"/>
                    </a:lnTo>
                    <a:lnTo>
                      <a:pt x="2085" y="363"/>
                    </a:lnTo>
                    <a:lnTo>
                      <a:pt x="2103" y="422"/>
                    </a:lnTo>
                    <a:lnTo>
                      <a:pt x="2114" y="484"/>
                    </a:lnTo>
                    <a:lnTo>
                      <a:pt x="2118" y="547"/>
                    </a:lnTo>
                    <a:lnTo>
                      <a:pt x="2115" y="601"/>
                    </a:lnTo>
                    <a:lnTo>
                      <a:pt x="2108" y="651"/>
                    </a:lnTo>
                    <a:lnTo>
                      <a:pt x="2097" y="697"/>
                    </a:lnTo>
                    <a:lnTo>
                      <a:pt x="2081" y="741"/>
                    </a:lnTo>
                    <a:lnTo>
                      <a:pt x="2062" y="780"/>
                    </a:lnTo>
                    <a:lnTo>
                      <a:pt x="2039" y="817"/>
                    </a:lnTo>
                    <a:lnTo>
                      <a:pt x="2012" y="850"/>
                    </a:lnTo>
                    <a:lnTo>
                      <a:pt x="1982" y="880"/>
                    </a:lnTo>
                    <a:lnTo>
                      <a:pt x="1950" y="905"/>
                    </a:lnTo>
                    <a:lnTo>
                      <a:pt x="1915" y="928"/>
                    </a:lnTo>
                    <a:lnTo>
                      <a:pt x="1963" y="917"/>
                    </a:lnTo>
                    <a:lnTo>
                      <a:pt x="2009" y="900"/>
                    </a:lnTo>
                    <a:lnTo>
                      <a:pt x="2053" y="878"/>
                    </a:lnTo>
                    <a:lnTo>
                      <a:pt x="2096" y="852"/>
                    </a:lnTo>
                    <a:lnTo>
                      <a:pt x="2135" y="821"/>
                    </a:lnTo>
                    <a:lnTo>
                      <a:pt x="2171" y="786"/>
                    </a:lnTo>
                    <a:lnTo>
                      <a:pt x="2215" y="814"/>
                    </a:lnTo>
                    <a:lnTo>
                      <a:pt x="2256" y="846"/>
                    </a:lnTo>
                    <a:lnTo>
                      <a:pt x="2291" y="883"/>
                    </a:lnTo>
                    <a:lnTo>
                      <a:pt x="2322" y="923"/>
                    </a:lnTo>
                    <a:lnTo>
                      <a:pt x="2347" y="967"/>
                    </a:lnTo>
                    <a:lnTo>
                      <a:pt x="2369" y="1013"/>
                    </a:lnTo>
                    <a:lnTo>
                      <a:pt x="2384" y="1062"/>
                    </a:lnTo>
                    <a:lnTo>
                      <a:pt x="2394" y="1113"/>
                    </a:lnTo>
                    <a:lnTo>
                      <a:pt x="2396" y="1165"/>
                    </a:lnTo>
                    <a:lnTo>
                      <a:pt x="2392" y="1219"/>
                    </a:lnTo>
                    <a:lnTo>
                      <a:pt x="2383" y="1271"/>
                    </a:lnTo>
                    <a:lnTo>
                      <a:pt x="2367" y="1321"/>
                    </a:lnTo>
                    <a:lnTo>
                      <a:pt x="2345" y="1369"/>
                    </a:lnTo>
                    <a:lnTo>
                      <a:pt x="2319" y="1413"/>
                    </a:lnTo>
                    <a:lnTo>
                      <a:pt x="2287" y="1453"/>
                    </a:lnTo>
                    <a:lnTo>
                      <a:pt x="2251" y="1489"/>
                    </a:lnTo>
                    <a:lnTo>
                      <a:pt x="2210" y="1521"/>
                    </a:lnTo>
                    <a:lnTo>
                      <a:pt x="2166" y="1548"/>
                    </a:lnTo>
                    <a:lnTo>
                      <a:pt x="2119" y="1570"/>
                    </a:lnTo>
                    <a:lnTo>
                      <a:pt x="2069" y="1585"/>
                    </a:lnTo>
                    <a:lnTo>
                      <a:pt x="2016" y="1596"/>
                    </a:lnTo>
                    <a:lnTo>
                      <a:pt x="1962" y="1599"/>
                    </a:lnTo>
                    <a:lnTo>
                      <a:pt x="1921" y="1599"/>
                    </a:lnTo>
                    <a:lnTo>
                      <a:pt x="1918" y="1616"/>
                    </a:lnTo>
                    <a:lnTo>
                      <a:pt x="1909" y="1628"/>
                    </a:lnTo>
                    <a:lnTo>
                      <a:pt x="1898" y="1636"/>
                    </a:lnTo>
                    <a:lnTo>
                      <a:pt x="1883" y="1641"/>
                    </a:lnTo>
                    <a:lnTo>
                      <a:pt x="1865" y="1643"/>
                    </a:lnTo>
                    <a:lnTo>
                      <a:pt x="1844" y="1642"/>
                    </a:lnTo>
                    <a:lnTo>
                      <a:pt x="1820" y="1641"/>
                    </a:lnTo>
                    <a:lnTo>
                      <a:pt x="1793" y="1638"/>
                    </a:lnTo>
                    <a:lnTo>
                      <a:pt x="1764" y="1634"/>
                    </a:lnTo>
                    <a:lnTo>
                      <a:pt x="1733" y="1632"/>
                    </a:lnTo>
                    <a:lnTo>
                      <a:pt x="1700" y="1629"/>
                    </a:lnTo>
                    <a:lnTo>
                      <a:pt x="1665" y="1628"/>
                    </a:lnTo>
                    <a:lnTo>
                      <a:pt x="1629" y="1629"/>
                    </a:lnTo>
                    <a:lnTo>
                      <a:pt x="1591" y="1634"/>
                    </a:lnTo>
                    <a:lnTo>
                      <a:pt x="1566" y="1638"/>
                    </a:lnTo>
                    <a:lnTo>
                      <a:pt x="1538" y="1642"/>
                    </a:lnTo>
                    <a:lnTo>
                      <a:pt x="1509" y="1647"/>
                    </a:lnTo>
                    <a:lnTo>
                      <a:pt x="1478" y="1653"/>
                    </a:lnTo>
                    <a:lnTo>
                      <a:pt x="1449" y="1658"/>
                    </a:lnTo>
                    <a:lnTo>
                      <a:pt x="1421" y="1662"/>
                    </a:lnTo>
                    <a:lnTo>
                      <a:pt x="1394" y="1667"/>
                    </a:lnTo>
                    <a:lnTo>
                      <a:pt x="1370" y="1672"/>
                    </a:lnTo>
                    <a:lnTo>
                      <a:pt x="1351" y="1676"/>
                    </a:lnTo>
                    <a:lnTo>
                      <a:pt x="1335" y="1679"/>
                    </a:lnTo>
                    <a:lnTo>
                      <a:pt x="1326" y="1680"/>
                    </a:lnTo>
                    <a:lnTo>
                      <a:pt x="1322" y="1682"/>
                    </a:lnTo>
                    <a:lnTo>
                      <a:pt x="1319" y="1682"/>
                    </a:lnTo>
                    <a:lnTo>
                      <a:pt x="1307" y="1684"/>
                    </a:lnTo>
                    <a:lnTo>
                      <a:pt x="1289" y="1686"/>
                    </a:lnTo>
                    <a:lnTo>
                      <a:pt x="1266" y="1689"/>
                    </a:lnTo>
                    <a:lnTo>
                      <a:pt x="1239" y="1692"/>
                    </a:lnTo>
                    <a:lnTo>
                      <a:pt x="1207" y="1695"/>
                    </a:lnTo>
                    <a:lnTo>
                      <a:pt x="1172" y="1698"/>
                    </a:lnTo>
                    <a:lnTo>
                      <a:pt x="1136" y="1699"/>
                    </a:lnTo>
                    <a:lnTo>
                      <a:pt x="1096" y="1701"/>
                    </a:lnTo>
                    <a:lnTo>
                      <a:pt x="1058" y="1701"/>
                    </a:lnTo>
                    <a:lnTo>
                      <a:pt x="1019" y="1698"/>
                    </a:lnTo>
                    <a:lnTo>
                      <a:pt x="982" y="1695"/>
                    </a:lnTo>
                    <a:lnTo>
                      <a:pt x="946" y="1690"/>
                    </a:lnTo>
                    <a:lnTo>
                      <a:pt x="914" y="1682"/>
                    </a:lnTo>
                    <a:lnTo>
                      <a:pt x="874" y="1670"/>
                    </a:lnTo>
                    <a:lnTo>
                      <a:pt x="834" y="1660"/>
                    </a:lnTo>
                    <a:lnTo>
                      <a:pt x="796" y="1652"/>
                    </a:lnTo>
                    <a:lnTo>
                      <a:pt x="758" y="1643"/>
                    </a:lnTo>
                    <a:lnTo>
                      <a:pt x="721" y="1638"/>
                    </a:lnTo>
                    <a:lnTo>
                      <a:pt x="686" y="1632"/>
                    </a:lnTo>
                    <a:lnTo>
                      <a:pt x="651" y="1626"/>
                    </a:lnTo>
                    <a:lnTo>
                      <a:pt x="618" y="1618"/>
                    </a:lnTo>
                    <a:lnTo>
                      <a:pt x="587" y="1613"/>
                    </a:lnTo>
                    <a:lnTo>
                      <a:pt x="558" y="1605"/>
                    </a:lnTo>
                    <a:lnTo>
                      <a:pt x="532" y="1597"/>
                    </a:lnTo>
                    <a:lnTo>
                      <a:pt x="507" y="1588"/>
                    </a:lnTo>
                    <a:lnTo>
                      <a:pt x="486" y="1577"/>
                    </a:lnTo>
                    <a:lnTo>
                      <a:pt x="467" y="1565"/>
                    </a:lnTo>
                    <a:lnTo>
                      <a:pt x="450" y="1550"/>
                    </a:lnTo>
                    <a:lnTo>
                      <a:pt x="437" y="1533"/>
                    </a:lnTo>
                    <a:lnTo>
                      <a:pt x="427" y="1513"/>
                    </a:lnTo>
                    <a:lnTo>
                      <a:pt x="421" y="1490"/>
                    </a:lnTo>
                    <a:lnTo>
                      <a:pt x="419" y="1464"/>
                    </a:lnTo>
                    <a:lnTo>
                      <a:pt x="420" y="1434"/>
                    </a:lnTo>
                    <a:lnTo>
                      <a:pt x="426" y="1401"/>
                    </a:lnTo>
                    <a:lnTo>
                      <a:pt x="436" y="1364"/>
                    </a:lnTo>
                    <a:lnTo>
                      <a:pt x="413" y="1399"/>
                    </a:lnTo>
                    <a:lnTo>
                      <a:pt x="393" y="1434"/>
                    </a:lnTo>
                    <a:lnTo>
                      <a:pt x="377" y="1473"/>
                    </a:lnTo>
                    <a:lnTo>
                      <a:pt x="365" y="1514"/>
                    </a:lnTo>
                    <a:lnTo>
                      <a:pt x="357" y="1555"/>
                    </a:lnTo>
                    <a:lnTo>
                      <a:pt x="352" y="1597"/>
                    </a:lnTo>
                    <a:lnTo>
                      <a:pt x="299" y="1589"/>
                    </a:lnTo>
                    <a:lnTo>
                      <a:pt x="249" y="1572"/>
                    </a:lnTo>
                    <a:lnTo>
                      <a:pt x="202" y="1551"/>
                    </a:lnTo>
                    <a:lnTo>
                      <a:pt x="158" y="1523"/>
                    </a:lnTo>
                    <a:lnTo>
                      <a:pt x="119" y="1490"/>
                    </a:lnTo>
                    <a:lnTo>
                      <a:pt x="84" y="1452"/>
                    </a:lnTo>
                    <a:lnTo>
                      <a:pt x="56" y="1410"/>
                    </a:lnTo>
                    <a:lnTo>
                      <a:pt x="32" y="1364"/>
                    </a:lnTo>
                    <a:lnTo>
                      <a:pt x="14" y="1315"/>
                    </a:lnTo>
                    <a:lnTo>
                      <a:pt x="4" y="1263"/>
                    </a:lnTo>
                    <a:lnTo>
                      <a:pt x="0" y="1208"/>
                    </a:lnTo>
                    <a:lnTo>
                      <a:pt x="4" y="1156"/>
                    </a:lnTo>
                    <a:lnTo>
                      <a:pt x="13" y="1105"/>
                    </a:lnTo>
                    <a:lnTo>
                      <a:pt x="31" y="1056"/>
                    </a:lnTo>
                    <a:lnTo>
                      <a:pt x="54" y="1011"/>
                    </a:lnTo>
                    <a:lnTo>
                      <a:pt x="82" y="969"/>
                    </a:lnTo>
                    <a:lnTo>
                      <a:pt x="115" y="931"/>
                    </a:lnTo>
                    <a:lnTo>
                      <a:pt x="154" y="898"/>
                    </a:lnTo>
                    <a:lnTo>
                      <a:pt x="196" y="871"/>
                    </a:lnTo>
                    <a:lnTo>
                      <a:pt x="243" y="848"/>
                    </a:lnTo>
                    <a:lnTo>
                      <a:pt x="292" y="831"/>
                    </a:lnTo>
                    <a:lnTo>
                      <a:pt x="344" y="822"/>
                    </a:lnTo>
                    <a:lnTo>
                      <a:pt x="401" y="815"/>
                    </a:lnTo>
                    <a:lnTo>
                      <a:pt x="406" y="759"/>
                    </a:lnTo>
                    <a:lnTo>
                      <a:pt x="415" y="704"/>
                    </a:lnTo>
                    <a:lnTo>
                      <a:pt x="431" y="652"/>
                    </a:lnTo>
                    <a:lnTo>
                      <a:pt x="452" y="603"/>
                    </a:lnTo>
                    <a:lnTo>
                      <a:pt x="478" y="558"/>
                    </a:lnTo>
                    <a:lnTo>
                      <a:pt x="511" y="518"/>
                    </a:lnTo>
                    <a:lnTo>
                      <a:pt x="546" y="479"/>
                    </a:lnTo>
                    <a:lnTo>
                      <a:pt x="588" y="447"/>
                    </a:lnTo>
                    <a:lnTo>
                      <a:pt x="632" y="420"/>
                    </a:lnTo>
                    <a:lnTo>
                      <a:pt x="680" y="397"/>
                    </a:lnTo>
                    <a:lnTo>
                      <a:pt x="731" y="382"/>
                    </a:lnTo>
                    <a:lnTo>
                      <a:pt x="783" y="371"/>
                    </a:lnTo>
                    <a:lnTo>
                      <a:pt x="838" y="368"/>
                    </a:lnTo>
                    <a:lnTo>
                      <a:pt x="883" y="371"/>
                    </a:lnTo>
                    <a:lnTo>
                      <a:pt x="928" y="377"/>
                    </a:lnTo>
                    <a:lnTo>
                      <a:pt x="972" y="389"/>
                    </a:lnTo>
                    <a:lnTo>
                      <a:pt x="1036" y="411"/>
                    </a:lnTo>
                    <a:lnTo>
                      <a:pt x="1061" y="349"/>
                    </a:lnTo>
                    <a:lnTo>
                      <a:pt x="1083" y="296"/>
                    </a:lnTo>
                    <a:lnTo>
                      <a:pt x="1111" y="249"/>
                    </a:lnTo>
                    <a:lnTo>
                      <a:pt x="1143" y="205"/>
                    </a:lnTo>
                    <a:lnTo>
                      <a:pt x="1178" y="164"/>
                    </a:lnTo>
                    <a:lnTo>
                      <a:pt x="1219" y="128"/>
                    </a:lnTo>
                    <a:lnTo>
                      <a:pt x="1262" y="95"/>
                    </a:lnTo>
                    <a:lnTo>
                      <a:pt x="1307" y="67"/>
                    </a:lnTo>
                    <a:lnTo>
                      <a:pt x="1356" y="44"/>
                    </a:lnTo>
                    <a:lnTo>
                      <a:pt x="1407" y="25"/>
                    </a:lnTo>
                    <a:lnTo>
                      <a:pt x="1459" y="11"/>
                    </a:lnTo>
                    <a:lnTo>
                      <a:pt x="1514" y="4"/>
                    </a:lnTo>
                    <a:lnTo>
                      <a:pt x="157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124" name="Freeform 39">
              <a:extLst>
                <a:ext uri="{FF2B5EF4-FFF2-40B4-BE49-F238E27FC236}">
                  <a16:creationId xmlns:a16="http://schemas.microsoft.com/office/drawing/2014/main" id="{169926B7-57D2-4E0A-BE80-2436B51BB1B0}"/>
                </a:ext>
              </a:extLst>
            </p:cNvPr>
            <p:cNvSpPr>
              <a:spLocks noEditPoints="1"/>
            </p:cNvSpPr>
            <p:nvPr/>
          </p:nvSpPr>
          <p:spPr bwMode="auto">
            <a:xfrm>
              <a:off x="10911349" y="5496581"/>
              <a:ext cx="769385" cy="220610"/>
            </a:xfrm>
            <a:custGeom>
              <a:avLst/>
              <a:gdLst>
                <a:gd name="T0" fmla="*/ 444 w 3920"/>
                <a:gd name="T1" fmla="*/ 79 h 1124"/>
                <a:gd name="T2" fmla="*/ 509 w 3920"/>
                <a:gd name="T3" fmla="*/ 131 h 1124"/>
                <a:gd name="T4" fmla="*/ 509 w 3920"/>
                <a:gd name="T5" fmla="*/ 255 h 1124"/>
                <a:gd name="T6" fmla="*/ 509 w 3920"/>
                <a:gd name="T7" fmla="*/ 481 h 1124"/>
                <a:gd name="T8" fmla="*/ 507 w 3920"/>
                <a:gd name="T9" fmla="*/ 911 h 1124"/>
                <a:gd name="T10" fmla="*/ 444 w 3920"/>
                <a:gd name="T11" fmla="*/ 954 h 1124"/>
                <a:gd name="T12" fmla="*/ 354 w 3920"/>
                <a:gd name="T13" fmla="*/ 954 h 1124"/>
                <a:gd name="T14" fmla="*/ 74 w 3920"/>
                <a:gd name="T15" fmla="*/ 954 h 1124"/>
                <a:gd name="T16" fmla="*/ 0 w 3920"/>
                <a:gd name="T17" fmla="*/ 845 h 1124"/>
                <a:gd name="T18" fmla="*/ 0 w 3920"/>
                <a:gd name="T19" fmla="*/ 184 h 1124"/>
                <a:gd name="T20" fmla="*/ 120 w 3920"/>
                <a:gd name="T21" fmla="*/ 79 h 1124"/>
                <a:gd name="T22" fmla="*/ 1608 w 3920"/>
                <a:gd name="T23" fmla="*/ 30 h 1124"/>
                <a:gd name="T24" fmla="*/ 1845 w 3920"/>
                <a:gd name="T25" fmla="*/ 91 h 1124"/>
                <a:gd name="T26" fmla="*/ 2074 w 3920"/>
                <a:gd name="T27" fmla="*/ 98 h 1124"/>
                <a:gd name="T28" fmla="*/ 2275 w 3920"/>
                <a:gd name="T29" fmla="*/ 69 h 1124"/>
                <a:gd name="T30" fmla="*/ 2446 w 3920"/>
                <a:gd name="T31" fmla="*/ 35 h 1124"/>
                <a:gd name="T32" fmla="*/ 2664 w 3920"/>
                <a:gd name="T33" fmla="*/ 35 h 1124"/>
                <a:gd name="T34" fmla="*/ 2821 w 3920"/>
                <a:gd name="T35" fmla="*/ 111 h 1124"/>
                <a:gd name="T36" fmla="*/ 2857 w 3920"/>
                <a:gd name="T37" fmla="*/ 220 h 1124"/>
                <a:gd name="T38" fmla="*/ 2748 w 3920"/>
                <a:gd name="T39" fmla="*/ 324 h 1124"/>
                <a:gd name="T40" fmla="*/ 2585 w 3920"/>
                <a:gd name="T41" fmla="*/ 367 h 1124"/>
                <a:gd name="T42" fmla="*/ 2462 w 3920"/>
                <a:gd name="T43" fmla="*/ 362 h 1124"/>
                <a:gd name="T44" fmla="*/ 2370 w 3920"/>
                <a:gd name="T45" fmla="*/ 355 h 1124"/>
                <a:gd name="T46" fmla="*/ 2179 w 3920"/>
                <a:gd name="T47" fmla="*/ 356 h 1124"/>
                <a:gd name="T48" fmla="*/ 2032 w 3920"/>
                <a:gd name="T49" fmla="*/ 386 h 1124"/>
                <a:gd name="T50" fmla="*/ 1913 w 3920"/>
                <a:gd name="T51" fmla="*/ 443 h 1124"/>
                <a:gd name="T52" fmla="*/ 2039 w 3920"/>
                <a:gd name="T53" fmla="*/ 514 h 1124"/>
                <a:gd name="T54" fmla="*/ 2257 w 3920"/>
                <a:gd name="T55" fmla="*/ 625 h 1124"/>
                <a:gd name="T56" fmla="*/ 2723 w 3920"/>
                <a:gd name="T57" fmla="*/ 652 h 1124"/>
                <a:gd name="T58" fmla="*/ 3039 w 3920"/>
                <a:gd name="T59" fmla="*/ 627 h 1124"/>
                <a:gd name="T60" fmla="*/ 3233 w 3920"/>
                <a:gd name="T61" fmla="*/ 563 h 1124"/>
                <a:gd name="T62" fmla="*/ 3435 w 3920"/>
                <a:gd name="T63" fmla="*/ 468 h 1124"/>
                <a:gd name="T64" fmla="*/ 3630 w 3920"/>
                <a:gd name="T65" fmla="*/ 352 h 1124"/>
                <a:gd name="T66" fmla="*/ 3793 w 3920"/>
                <a:gd name="T67" fmla="*/ 355 h 1124"/>
                <a:gd name="T68" fmla="*/ 3889 w 3920"/>
                <a:gd name="T69" fmla="*/ 417 h 1124"/>
                <a:gd name="T70" fmla="*/ 3920 w 3920"/>
                <a:gd name="T71" fmla="*/ 445 h 1124"/>
                <a:gd name="T72" fmla="*/ 3895 w 3920"/>
                <a:gd name="T73" fmla="*/ 464 h 1124"/>
                <a:gd name="T74" fmla="*/ 3796 w 3920"/>
                <a:gd name="T75" fmla="*/ 538 h 1124"/>
                <a:gd name="T76" fmla="*/ 3748 w 3920"/>
                <a:gd name="T77" fmla="*/ 589 h 1124"/>
                <a:gd name="T78" fmla="*/ 3699 w 3920"/>
                <a:gd name="T79" fmla="*/ 635 h 1124"/>
                <a:gd name="T80" fmla="*/ 3554 w 3920"/>
                <a:gd name="T81" fmla="*/ 760 h 1124"/>
                <a:gd name="T82" fmla="*/ 3376 w 3920"/>
                <a:gd name="T83" fmla="*/ 847 h 1124"/>
                <a:gd name="T84" fmla="*/ 3171 w 3920"/>
                <a:gd name="T85" fmla="*/ 930 h 1124"/>
                <a:gd name="T86" fmla="*/ 2992 w 3920"/>
                <a:gd name="T87" fmla="*/ 1019 h 1124"/>
                <a:gd name="T88" fmla="*/ 2642 w 3920"/>
                <a:gd name="T89" fmla="*/ 1037 h 1124"/>
                <a:gd name="T90" fmla="*/ 2275 w 3920"/>
                <a:gd name="T91" fmla="*/ 1106 h 1124"/>
                <a:gd name="T92" fmla="*/ 2091 w 3920"/>
                <a:gd name="T93" fmla="*/ 1110 h 1124"/>
                <a:gd name="T94" fmla="*/ 1960 w 3920"/>
                <a:gd name="T95" fmla="*/ 1099 h 1124"/>
                <a:gd name="T96" fmla="*/ 1812 w 3920"/>
                <a:gd name="T97" fmla="*/ 1087 h 1124"/>
                <a:gd name="T98" fmla="*/ 1612 w 3920"/>
                <a:gd name="T99" fmla="*/ 1060 h 1124"/>
                <a:gd name="T100" fmla="*/ 1328 w 3920"/>
                <a:gd name="T101" fmla="*/ 1006 h 1124"/>
                <a:gd name="T102" fmla="*/ 926 w 3920"/>
                <a:gd name="T103" fmla="*/ 915 h 1124"/>
                <a:gd name="T104" fmla="*/ 614 w 3920"/>
                <a:gd name="T105" fmla="*/ 820 h 1124"/>
                <a:gd name="T106" fmla="*/ 614 w 3920"/>
                <a:gd name="T107" fmla="*/ 405 h 1124"/>
                <a:gd name="T108" fmla="*/ 614 w 3920"/>
                <a:gd name="T109" fmla="*/ 249 h 1124"/>
                <a:gd name="T110" fmla="*/ 808 w 3920"/>
                <a:gd name="T111" fmla="*/ 167 h 1124"/>
                <a:gd name="T112" fmla="*/ 978 w 3920"/>
                <a:gd name="T113" fmla="*/ 68 h 1124"/>
                <a:gd name="T114" fmla="*/ 1253 w 3920"/>
                <a:gd name="T115" fmla="*/ 4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0" h="1124">
                  <a:moveTo>
                    <a:pt x="156" y="79"/>
                  </a:moveTo>
                  <a:lnTo>
                    <a:pt x="199" y="79"/>
                  </a:lnTo>
                  <a:lnTo>
                    <a:pt x="248" y="79"/>
                  </a:lnTo>
                  <a:lnTo>
                    <a:pt x="370" y="79"/>
                  </a:lnTo>
                  <a:lnTo>
                    <a:pt x="444" y="79"/>
                  </a:lnTo>
                  <a:lnTo>
                    <a:pt x="467" y="82"/>
                  </a:lnTo>
                  <a:lnTo>
                    <a:pt x="484" y="90"/>
                  </a:lnTo>
                  <a:lnTo>
                    <a:pt x="498" y="101"/>
                  </a:lnTo>
                  <a:lnTo>
                    <a:pt x="507" y="116"/>
                  </a:lnTo>
                  <a:lnTo>
                    <a:pt x="509" y="131"/>
                  </a:lnTo>
                  <a:lnTo>
                    <a:pt x="509" y="131"/>
                  </a:lnTo>
                  <a:lnTo>
                    <a:pt x="509" y="132"/>
                  </a:lnTo>
                  <a:lnTo>
                    <a:pt x="509" y="134"/>
                  </a:lnTo>
                  <a:lnTo>
                    <a:pt x="509" y="226"/>
                  </a:lnTo>
                  <a:lnTo>
                    <a:pt x="509" y="255"/>
                  </a:lnTo>
                  <a:lnTo>
                    <a:pt x="509" y="288"/>
                  </a:lnTo>
                  <a:lnTo>
                    <a:pt x="509" y="326"/>
                  </a:lnTo>
                  <a:lnTo>
                    <a:pt x="509" y="371"/>
                  </a:lnTo>
                  <a:lnTo>
                    <a:pt x="509" y="423"/>
                  </a:lnTo>
                  <a:lnTo>
                    <a:pt x="509" y="481"/>
                  </a:lnTo>
                  <a:lnTo>
                    <a:pt x="509" y="620"/>
                  </a:lnTo>
                  <a:lnTo>
                    <a:pt x="509" y="701"/>
                  </a:lnTo>
                  <a:lnTo>
                    <a:pt x="509" y="790"/>
                  </a:lnTo>
                  <a:lnTo>
                    <a:pt x="509" y="889"/>
                  </a:lnTo>
                  <a:lnTo>
                    <a:pt x="507" y="911"/>
                  </a:lnTo>
                  <a:lnTo>
                    <a:pt x="498" y="929"/>
                  </a:lnTo>
                  <a:lnTo>
                    <a:pt x="484" y="942"/>
                  </a:lnTo>
                  <a:lnTo>
                    <a:pt x="467" y="952"/>
                  </a:lnTo>
                  <a:lnTo>
                    <a:pt x="444" y="954"/>
                  </a:lnTo>
                  <a:lnTo>
                    <a:pt x="444" y="954"/>
                  </a:lnTo>
                  <a:lnTo>
                    <a:pt x="442" y="954"/>
                  </a:lnTo>
                  <a:lnTo>
                    <a:pt x="438" y="954"/>
                  </a:lnTo>
                  <a:lnTo>
                    <a:pt x="398" y="954"/>
                  </a:lnTo>
                  <a:lnTo>
                    <a:pt x="379" y="954"/>
                  </a:lnTo>
                  <a:lnTo>
                    <a:pt x="354" y="954"/>
                  </a:lnTo>
                  <a:lnTo>
                    <a:pt x="324" y="954"/>
                  </a:lnTo>
                  <a:lnTo>
                    <a:pt x="288" y="954"/>
                  </a:lnTo>
                  <a:lnTo>
                    <a:pt x="245" y="954"/>
                  </a:lnTo>
                  <a:lnTo>
                    <a:pt x="196" y="954"/>
                  </a:lnTo>
                  <a:lnTo>
                    <a:pt x="74" y="954"/>
                  </a:lnTo>
                  <a:lnTo>
                    <a:pt x="0" y="954"/>
                  </a:lnTo>
                  <a:lnTo>
                    <a:pt x="0" y="954"/>
                  </a:lnTo>
                  <a:lnTo>
                    <a:pt x="0" y="954"/>
                  </a:lnTo>
                  <a:lnTo>
                    <a:pt x="0" y="953"/>
                  </a:lnTo>
                  <a:lnTo>
                    <a:pt x="0" y="845"/>
                  </a:lnTo>
                  <a:lnTo>
                    <a:pt x="0" y="815"/>
                  </a:lnTo>
                  <a:lnTo>
                    <a:pt x="0" y="795"/>
                  </a:lnTo>
                  <a:lnTo>
                    <a:pt x="0" y="368"/>
                  </a:lnTo>
                  <a:lnTo>
                    <a:pt x="0" y="280"/>
                  </a:lnTo>
                  <a:lnTo>
                    <a:pt x="0" y="184"/>
                  </a:lnTo>
                  <a:lnTo>
                    <a:pt x="0" y="79"/>
                  </a:lnTo>
                  <a:lnTo>
                    <a:pt x="0" y="79"/>
                  </a:lnTo>
                  <a:lnTo>
                    <a:pt x="1" y="79"/>
                  </a:lnTo>
                  <a:lnTo>
                    <a:pt x="2" y="79"/>
                  </a:lnTo>
                  <a:lnTo>
                    <a:pt x="120" y="79"/>
                  </a:lnTo>
                  <a:lnTo>
                    <a:pt x="156" y="79"/>
                  </a:lnTo>
                  <a:close/>
                  <a:moveTo>
                    <a:pt x="1343" y="0"/>
                  </a:moveTo>
                  <a:lnTo>
                    <a:pt x="1431" y="4"/>
                  </a:lnTo>
                  <a:lnTo>
                    <a:pt x="1519" y="14"/>
                  </a:lnTo>
                  <a:lnTo>
                    <a:pt x="1608" y="30"/>
                  </a:lnTo>
                  <a:lnTo>
                    <a:pt x="1699" y="53"/>
                  </a:lnTo>
                  <a:lnTo>
                    <a:pt x="1734" y="65"/>
                  </a:lnTo>
                  <a:lnTo>
                    <a:pt x="1770" y="74"/>
                  </a:lnTo>
                  <a:lnTo>
                    <a:pt x="1807" y="84"/>
                  </a:lnTo>
                  <a:lnTo>
                    <a:pt x="1845" y="91"/>
                  </a:lnTo>
                  <a:lnTo>
                    <a:pt x="1884" y="97"/>
                  </a:lnTo>
                  <a:lnTo>
                    <a:pt x="1927" y="101"/>
                  </a:lnTo>
                  <a:lnTo>
                    <a:pt x="1972" y="103"/>
                  </a:lnTo>
                  <a:lnTo>
                    <a:pt x="2021" y="101"/>
                  </a:lnTo>
                  <a:lnTo>
                    <a:pt x="2074" y="98"/>
                  </a:lnTo>
                  <a:lnTo>
                    <a:pt x="2129" y="92"/>
                  </a:lnTo>
                  <a:lnTo>
                    <a:pt x="2170" y="88"/>
                  </a:lnTo>
                  <a:lnTo>
                    <a:pt x="2207" y="82"/>
                  </a:lnTo>
                  <a:lnTo>
                    <a:pt x="2241" y="77"/>
                  </a:lnTo>
                  <a:lnTo>
                    <a:pt x="2275" y="69"/>
                  </a:lnTo>
                  <a:lnTo>
                    <a:pt x="2307" y="62"/>
                  </a:lnTo>
                  <a:lnTo>
                    <a:pt x="2339" y="55"/>
                  </a:lnTo>
                  <a:lnTo>
                    <a:pt x="2372" y="48"/>
                  </a:lnTo>
                  <a:lnTo>
                    <a:pt x="2407" y="41"/>
                  </a:lnTo>
                  <a:lnTo>
                    <a:pt x="2446" y="35"/>
                  </a:lnTo>
                  <a:lnTo>
                    <a:pt x="2488" y="30"/>
                  </a:lnTo>
                  <a:lnTo>
                    <a:pt x="2534" y="28"/>
                  </a:lnTo>
                  <a:lnTo>
                    <a:pt x="2587" y="27"/>
                  </a:lnTo>
                  <a:lnTo>
                    <a:pt x="2626" y="29"/>
                  </a:lnTo>
                  <a:lnTo>
                    <a:pt x="2664" y="35"/>
                  </a:lnTo>
                  <a:lnTo>
                    <a:pt x="2701" y="46"/>
                  </a:lnTo>
                  <a:lnTo>
                    <a:pt x="2737" y="58"/>
                  </a:lnTo>
                  <a:lnTo>
                    <a:pt x="2769" y="74"/>
                  </a:lnTo>
                  <a:lnTo>
                    <a:pt x="2797" y="92"/>
                  </a:lnTo>
                  <a:lnTo>
                    <a:pt x="2821" y="111"/>
                  </a:lnTo>
                  <a:lnTo>
                    <a:pt x="2840" y="131"/>
                  </a:lnTo>
                  <a:lnTo>
                    <a:pt x="2854" y="154"/>
                  </a:lnTo>
                  <a:lnTo>
                    <a:pt x="2861" y="175"/>
                  </a:lnTo>
                  <a:lnTo>
                    <a:pt x="2861" y="197"/>
                  </a:lnTo>
                  <a:lnTo>
                    <a:pt x="2857" y="220"/>
                  </a:lnTo>
                  <a:lnTo>
                    <a:pt x="2846" y="243"/>
                  </a:lnTo>
                  <a:lnTo>
                    <a:pt x="2828" y="266"/>
                  </a:lnTo>
                  <a:lnTo>
                    <a:pt x="2804" y="287"/>
                  </a:lnTo>
                  <a:lnTo>
                    <a:pt x="2778" y="306"/>
                  </a:lnTo>
                  <a:lnTo>
                    <a:pt x="2748" y="324"/>
                  </a:lnTo>
                  <a:lnTo>
                    <a:pt x="2717" y="339"/>
                  </a:lnTo>
                  <a:lnTo>
                    <a:pt x="2685" y="351"/>
                  </a:lnTo>
                  <a:lnTo>
                    <a:pt x="2654" y="361"/>
                  </a:lnTo>
                  <a:lnTo>
                    <a:pt x="2626" y="367"/>
                  </a:lnTo>
                  <a:lnTo>
                    <a:pt x="2585" y="367"/>
                  </a:lnTo>
                  <a:lnTo>
                    <a:pt x="2551" y="365"/>
                  </a:lnTo>
                  <a:lnTo>
                    <a:pt x="2522" y="365"/>
                  </a:lnTo>
                  <a:lnTo>
                    <a:pt x="2498" y="364"/>
                  </a:lnTo>
                  <a:lnTo>
                    <a:pt x="2479" y="363"/>
                  </a:lnTo>
                  <a:lnTo>
                    <a:pt x="2462" y="362"/>
                  </a:lnTo>
                  <a:lnTo>
                    <a:pt x="2445" y="360"/>
                  </a:lnTo>
                  <a:lnTo>
                    <a:pt x="2428" y="358"/>
                  </a:lnTo>
                  <a:lnTo>
                    <a:pt x="2412" y="357"/>
                  </a:lnTo>
                  <a:lnTo>
                    <a:pt x="2393" y="356"/>
                  </a:lnTo>
                  <a:lnTo>
                    <a:pt x="2370" y="355"/>
                  </a:lnTo>
                  <a:lnTo>
                    <a:pt x="2344" y="354"/>
                  </a:lnTo>
                  <a:lnTo>
                    <a:pt x="2312" y="354"/>
                  </a:lnTo>
                  <a:lnTo>
                    <a:pt x="2273" y="354"/>
                  </a:lnTo>
                  <a:lnTo>
                    <a:pt x="2222" y="354"/>
                  </a:lnTo>
                  <a:lnTo>
                    <a:pt x="2179" y="356"/>
                  </a:lnTo>
                  <a:lnTo>
                    <a:pt x="2141" y="360"/>
                  </a:lnTo>
                  <a:lnTo>
                    <a:pt x="2109" y="364"/>
                  </a:lnTo>
                  <a:lnTo>
                    <a:pt x="2081" y="370"/>
                  </a:lnTo>
                  <a:lnTo>
                    <a:pt x="2054" y="377"/>
                  </a:lnTo>
                  <a:lnTo>
                    <a:pt x="2032" y="386"/>
                  </a:lnTo>
                  <a:lnTo>
                    <a:pt x="2009" y="395"/>
                  </a:lnTo>
                  <a:lnTo>
                    <a:pt x="1988" y="406"/>
                  </a:lnTo>
                  <a:lnTo>
                    <a:pt x="1964" y="417"/>
                  </a:lnTo>
                  <a:lnTo>
                    <a:pt x="1940" y="430"/>
                  </a:lnTo>
                  <a:lnTo>
                    <a:pt x="1913" y="443"/>
                  </a:lnTo>
                  <a:lnTo>
                    <a:pt x="1882" y="458"/>
                  </a:lnTo>
                  <a:lnTo>
                    <a:pt x="1924" y="470"/>
                  </a:lnTo>
                  <a:lnTo>
                    <a:pt x="1963" y="483"/>
                  </a:lnTo>
                  <a:lnTo>
                    <a:pt x="2001" y="497"/>
                  </a:lnTo>
                  <a:lnTo>
                    <a:pt x="2039" y="514"/>
                  </a:lnTo>
                  <a:lnTo>
                    <a:pt x="2077" y="532"/>
                  </a:lnTo>
                  <a:lnTo>
                    <a:pt x="2118" y="551"/>
                  </a:lnTo>
                  <a:lnTo>
                    <a:pt x="2160" y="572"/>
                  </a:lnTo>
                  <a:lnTo>
                    <a:pt x="2207" y="597"/>
                  </a:lnTo>
                  <a:lnTo>
                    <a:pt x="2257" y="625"/>
                  </a:lnTo>
                  <a:lnTo>
                    <a:pt x="2313" y="654"/>
                  </a:lnTo>
                  <a:lnTo>
                    <a:pt x="2418" y="645"/>
                  </a:lnTo>
                  <a:lnTo>
                    <a:pt x="2521" y="642"/>
                  </a:lnTo>
                  <a:lnTo>
                    <a:pt x="2623" y="646"/>
                  </a:lnTo>
                  <a:lnTo>
                    <a:pt x="2723" y="652"/>
                  </a:lnTo>
                  <a:lnTo>
                    <a:pt x="2820" y="659"/>
                  </a:lnTo>
                  <a:lnTo>
                    <a:pt x="2914" y="667"/>
                  </a:lnTo>
                  <a:lnTo>
                    <a:pt x="2958" y="654"/>
                  </a:lnTo>
                  <a:lnTo>
                    <a:pt x="3000" y="641"/>
                  </a:lnTo>
                  <a:lnTo>
                    <a:pt x="3039" y="627"/>
                  </a:lnTo>
                  <a:lnTo>
                    <a:pt x="3076" y="613"/>
                  </a:lnTo>
                  <a:lnTo>
                    <a:pt x="3113" y="598"/>
                  </a:lnTo>
                  <a:lnTo>
                    <a:pt x="3151" y="585"/>
                  </a:lnTo>
                  <a:lnTo>
                    <a:pt x="3190" y="574"/>
                  </a:lnTo>
                  <a:lnTo>
                    <a:pt x="3233" y="563"/>
                  </a:lnTo>
                  <a:lnTo>
                    <a:pt x="3279" y="554"/>
                  </a:lnTo>
                  <a:lnTo>
                    <a:pt x="3332" y="550"/>
                  </a:lnTo>
                  <a:lnTo>
                    <a:pt x="3365" y="524"/>
                  </a:lnTo>
                  <a:lnTo>
                    <a:pt x="3400" y="496"/>
                  </a:lnTo>
                  <a:lnTo>
                    <a:pt x="3435" y="468"/>
                  </a:lnTo>
                  <a:lnTo>
                    <a:pt x="3473" y="439"/>
                  </a:lnTo>
                  <a:lnTo>
                    <a:pt x="3511" y="413"/>
                  </a:lnTo>
                  <a:lnTo>
                    <a:pt x="3551" y="389"/>
                  </a:lnTo>
                  <a:lnTo>
                    <a:pt x="3590" y="369"/>
                  </a:lnTo>
                  <a:lnTo>
                    <a:pt x="3630" y="352"/>
                  </a:lnTo>
                  <a:lnTo>
                    <a:pt x="3671" y="342"/>
                  </a:lnTo>
                  <a:lnTo>
                    <a:pt x="3710" y="337"/>
                  </a:lnTo>
                  <a:lnTo>
                    <a:pt x="3749" y="340"/>
                  </a:lnTo>
                  <a:lnTo>
                    <a:pt x="3771" y="345"/>
                  </a:lnTo>
                  <a:lnTo>
                    <a:pt x="3793" y="355"/>
                  </a:lnTo>
                  <a:lnTo>
                    <a:pt x="3815" y="365"/>
                  </a:lnTo>
                  <a:lnTo>
                    <a:pt x="3835" y="377"/>
                  </a:lnTo>
                  <a:lnTo>
                    <a:pt x="3855" y="390"/>
                  </a:lnTo>
                  <a:lnTo>
                    <a:pt x="3873" y="405"/>
                  </a:lnTo>
                  <a:lnTo>
                    <a:pt x="3889" y="417"/>
                  </a:lnTo>
                  <a:lnTo>
                    <a:pt x="3902" y="428"/>
                  </a:lnTo>
                  <a:lnTo>
                    <a:pt x="3911" y="437"/>
                  </a:lnTo>
                  <a:lnTo>
                    <a:pt x="3917" y="443"/>
                  </a:lnTo>
                  <a:lnTo>
                    <a:pt x="3920" y="445"/>
                  </a:lnTo>
                  <a:lnTo>
                    <a:pt x="3920" y="445"/>
                  </a:lnTo>
                  <a:lnTo>
                    <a:pt x="3918" y="446"/>
                  </a:lnTo>
                  <a:lnTo>
                    <a:pt x="3915" y="449"/>
                  </a:lnTo>
                  <a:lnTo>
                    <a:pt x="3911" y="452"/>
                  </a:lnTo>
                  <a:lnTo>
                    <a:pt x="3904" y="457"/>
                  </a:lnTo>
                  <a:lnTo>
                    <a:pt x="3895" y="464"/>
                  </a:lnTo>
                  <a:lnTo>
                    <a:pt x="3883" y="474"/>
                  </a:lnTo>
                  <a:lnTo>
                    <a:pt x="3867" y="486"/>
                  </a:lnTo>
                  <a:lnTo>
                    <a:pt x="3848" y="500"/>
                  </a:lnTo>
                  <a:lnTo>
                    <a:pt x="3824" y="518"/>
                  </a:lnTo>
                  <a:lnTo>
                    <a:pt x="3796" y="538"/>
                  </a:lnTo>
                  <a:lnTo>
                    <a:pt x="3763" y="563"/>
                  </a:lnTo>
                  <a:lnTo>
                    <a:pt x="3761" y="565"/>
                  </a:lnTo>
                  <a:lnTo>
                    <a:pt x="3759" y="571"/>
                  </a:lnTo>
                  <a:lnTo>
                    <a:pt x="3754" y="579"/>
                  </a:lnTo>
                  <a:lnTo>
                    <a:pt x="3748" y="589"/>
                  </a:lnTo>
                  <a:lnTo>
                    <a:pt x="3742" y="598"/>
                  </a:lnTo>
                  <a:lnTo>
                    <a:pt x="3735" y="607"/>
                  </a:lnTo>
                  <a:lnTo>
                    <a:pt x="3729" y="613"/>
                  </a:lnTo>
                  <a:lnTo>
                    <a:pt x="3723" y="615"/>
                  </a:lnTo>
                  <a:lnTo>
                    <a:pt x="3699" y="635"/>
                  </a:lnTo>
                  <a:lnTo>
                    <a:pt x="3673" y="657"/>
                  </a:lnTo>
                  <a:lnTo>
                    <a:pt x="3647" y="679"/>
                  </a:lnTo>
                  <a:lnTo>
                    <a:pt x="3619" y="704"/>
                  </a:lnTo>
                  <a:lnTo>
                    <a:pt x="3589" y="732"/>
                  </a:lnTo>
                  <a:lnTo>
                    <a:pt x="3554" y="760"/>
                  </a:lnTo>
                  <a:lnTo>
                    <a:pt x="3517" y="791"/>
                  </a:lnTo>
                  <a:lnTo>
                    <a:pt x="3476" y="823"/>
                  </a:lnTo>
                  <a:lnTo>
                    <a:pt x="3446" y="828"/>
                  </a:lnTo>
                  <a:lnTo>
                    <a:pt x="3413" y="836"/>
                  </a:lnTo>
                  <a:lnTo>
                    <a:pt x="3376" y="847"/>
                  </a:lnTo>
                  <a:lnTo>
                    <a:pt x="3338" y="861"/>
                  </a:lnTo>
                  <a:lnTo>
                    <a:pt x="3297" y="877"/>
                  </a:lnTo>
                  <a:lnTo>
                    <a:pt x="3254" y="893"/>
                  </a:lnTo>
                  <a:lnTo>
                    <a:pt x="3213" y="911"/>
                  </a:lnTo>
                  <a:lnTo>
                    <a:pt x="3171" y="930"/>
                  </a:lnTo>
                  <a:lnTo>
                    <a:pt x="3130" y="949"/>
                  </a:lnTo>
                  <a:lnTo>
                    <a:pt x="3091" y="968"/>
                  </a:lnTo>
                  <a:lnTo>
                    <a:pt x="3054" y="986"/>
                  </a:lnTo>
                  <a:lnTo>
                    <a:pt x="3021" y="1004"/>
                  </a:lnTo>
                  <a:lnTo>
                    <a:pt x="2992" y="1019"/>
                  </a:lnTo>
                  <a:lnTo>
                    <a:pt x="2929" y="1018"/>
                  </a:lnTo>
                  <a:lnTo>
                    <a:pt x="2861" y="1018"/>
                  </a:lnTo>
                  <a:lnTo>
                    <a:pt x="2791" y="1023"/>
                  </a:lnTo>
                  <a:lnTo>
                    <a:pt x="2717" y="1029"/>
                  </a:lnTo>
                  <a:lnTo>
                    <a:pt x="2642" y="1037"/>
                  </a:lnTo>
                  <a:lnTo>
                    <a:pt x="2567" y="1048"/>
                  </a:lnTo>
                  <a:lnTo>
                    <a:pt x="2491" y="1061"/>
                  </a:lnTo>
                  <a:lnTo>
                    <a:pt x="2416" y="1075"/>
                  </a:lnTo>
                  <a:lnTo>
                    <a:pt x="2344" y="1091"/>
                  </a:lnTo>
                  <a:lnTo>
                    <a:pt x="2275" y="1106"/>
                  </a:lnTo>
                  <a:lnTo>
                    <a:pt x="2208" y="1124"/>
                  </a:lnTo>
                  <a:lnTo>
                    <a:pt x="2177" y="1119"/>
                  </a:lnTo>
                  <a:lnTo>
                    <a:pt x="2147" y="1116"/>
                  </a:lnTo>
                  <a:lnTo>
                    <a:pt x="2119" y="1112"/>
                  </a:lnTo>
                  <a:lnTo>
                    <a:pt x="2091" y="1110"/>
                  </a:lnTo>
                  <a:lnTo>
                    <a:pt x="2065" y="1107"/>
                  </a:lnTo>
                  <a:lnTo>
                    <a:pt x="2039" y="1105"/>
                  </a:lnTo>
                  <a:lnTo>
                    <a:pt x="2013" y="1103"/>
                  </a:lnTo>
                  <a:lnTo>
                    <a:pt x="1987" y="1101"/>
                  </a:lnTo>
                  <a:lnTo>
                    <a:pt x="1960" y="1099"/>
                  </a:lnTo>
                  <a:lnTo>
                    <a:pt x="1933" y="1098"/>
                  </a:lnTo>
                  <a:lnTo>
                    <a:pt x="1904" y="1095"/>
                  </a:lnTo>
                  <a:lnTo>
                    <a:pt x="1875" y="1093"/>
                  </a:lnTo>
                  <a:lnTo>
                    <a:pt x="1844" y="1091"/>
                  </a:lnTo>
                  <a:lnTo>
                    <a:pt x="1812" y="1087"/>
                  </a:lnTo>
                  <a:lnTo>
                    <a:pt x="1776" y="1082"/>
                  </a:lnTo>
                  <a:lnTo>
                    <a:pt x="1739" y="1079"/>
                  </a:lnTo>
                  <a:lnTo>
                    <a:pt x="1700" y="1073"/>
                  </a:lnTo>
                  <a:lnTo>
                    <a:pt x="1657" y="1067"/>
                  </a:lnTo>
                  <a:lnTo>
                    <a:pt x="1612" y="1060"/>
                  </a:lnTo>
                  <a:lnTo>
                    <a:pt x="1563" y="1051"/>
                  </a:lnTo>
                  <a:lnTo>
                    <a:pt x="1510" y="1042"/>
                  </a:lnTo>
                  <a:lnTo>
                    <a:pt x="1453" y="1031"/>
                  </a:lnTo>
                  <a:lnTo>
                    <a:pt x="1393" y="1019"/>
                  </a:lnTo>
                  <a:lnTo>
                    <a:pt x="1328" y="1006"/>
                  </a:lnTo>
                  <a:lnTo>
                    <a:pt x="1258" y="992"/>
                  </a:lnTo>
                  <a:lnTo>
                    <a:pt x="1183" y="975"/>
                  </a:lnTo>
                  <a:lnTo>
                    <a:pt x="1103" y="958"/>
                  </a:lnTo>
                  <a:lnTo>
                    <a:pt x="1018" y="937"/>
                  </a:lnTo>
                  <a:lnTo>
                    <a:pt x="926" y="915"/>
                  </a:lnTo>
                  <a:lnTo>
                    <a:pt x="828" y="891"/>
                  </a:lnTo>
                  <a:lnTo>
                    <a:pt x="725" y="865"/>
                  </a:lnTo>
                  <a:lnTo>
                    <a:pt x="614" y="836"/>
                  </a:lnTo>
                  <a:lnTo>
                    <a:pt x="614" y="833"/>
                  </a:lnTo>
                  <a:lnTo>
                    <a:pt x="614" y="820"/>
                  </a:lnTo>
                  <a:lnTo>
                    <a:pt x="614" y="774"/>
                  </a:lnTo>
                  <a:lnTo>
                    <a:pt x="614" y="744"/>
                  </a:lnTo>
                  <a:lnTo>
                    <a:pt x="614" y="708"/>
                  </a:lnTo>
                  <a:lnTo>
                    <a:pt x="614" y="447"/>
                  </a:lnTo>
                  <a:lnTo>
                    <a:pt x="614" y="405"/>
                  </a:lnTo>
                  <a:lnTo>
                    <a:pt x="614" y="365"/>
                  </a:lnTo>
                  <a:lnTo>
                    <a:pt x="614" y="329"/>
                  </a:lnTo>
                  <a:lnTo>
                    <a:pt x="614" y="296"/>
                  </a:lnTo>
                  <a:lnTo>
                    <a:pt x="614" y="269"/>
                  </a:lnTo>
                  <a:lnTo>
                    <a:pt x="614" y="249"/>
                  </a:lnTo>
                  <a:lnTo>
                    <a:pt x="659" y="236"/>
                  </a:lnTo>
                  <a:lnTo>
                    <a:pt x="701" y="222"/>
                  </a:lnTo>
                  <a:lnTo>
                    <a:pt x="739" y="205"/>
                  </a:lnTo>
                  <a:lnTo>
                    <a:pt x="774" y="186"/>
                  </a:lnTo>
                  <a:lnTo>
                    <a:pt x="808" y="167"/>
                  </a:lnTo>
                  <a:lnTo>
                    <a:pt x="842" y="147"/>
                  </a:lnTo>
                  <a:lnTo>
                    <a:pt x="874" y="126"/>
                  </a:lnTo>
                  <a:lnTo>
                    <a:pt x="907" y="106"/>
                  </a:lnTo>
                  <a:lnTo>
                    <a:pt x="942" y="87"/>
                  </a:lnTo>
                  <a:lnTo>
                    <a:pt x="978" y="68"/>
                  </a:lnTo>
                  <a:lnTo>
                    <a:pt x="1019" y="52"/>
                  </a:lnTo>
                  <a:lnTo>
                    <a:pt x="1062" y="36"/>
                  </a:lnTo>
                  <a:lnTo>
                    <a:pt x="1109" y="24"/>
                  </a:lnTo>
                  <a:lnTo>
                    <a:pt x="1163" y="14"/>
                  </a:lnTo>
                  <a:lnTo>
                    <a:pt x="1253" y="4"/>
                  </a:lnTo>
                  <a:lnTo>
                    <a:pt x="1343"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9" name="Rectangle 118">
              <a:extLst>
                <a:ext uri="{FF2B5EF4-FFF2-40B4-BE49-F238E27FC236}">
                  <a16:creationId xmlns:a16="http://schemas.microsoft.com/office/drawing/2014/main" id="{F6EFF213-45F5-47AB-9A31-F23B03D4A1A2}"/>
                </a:ext>
              </a:extLst>
            </p:cNvPr>
            <p:cNvSpPr/>
            <p:nvPr/>
          </p:nvSpPr>
          <p:spPr>
            <a:xfrm>
              <a:off x="10730843" y="6088062"/>
              <a:ext cx="1038645" cy="470922"/>
            </a:xfrm>
            <a:prstGeom prst="rect">
              <a:avLst/>
            </a:prstGeom>
          </p:spPr>
          <p:txBody>
            <a:bodyPr wrap="none">
              <a:spAutoFit/>
            </a:bodyPr>
            <a:lstStyle/>
            <a:p>
              <a:pPr marL="0" marR="0" lvl="0" indent="0" algn="ctr" defTabSz="896386"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DENIAL OF </a:t>
              </a:r>
              <a:b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SERVICE</a:t>
              </a:r>
            </a:p>
          </p:txBody>
        </p:sp>
      </p:grpSp>
      <p:grpSp>
        <p:nvGrpSpPr>
          <p:cNvPr id="5" name="Group 4">
            <a:extLst>
              <a:ext uri="{FF2B5EF4-FFF2-40B4-BE49-F238E27FC236}">
                <a16:creationId xmlns:a16="http://schemas.microsoft.com/office/drawing/2014/main" id="{DA1FBA73-90B5-4A2B-9F26-62B225A7F74A}"/>
              </a:ext>
            </a:extLst>
          </p:cNvPr>
          <p:cNvGrpSpPr/>
          <p:nvPr/>
        </p:nvGrpSpPr>
        <p:grpSpPr>
          <a:xfrm>
            <a:off x="3489923" y="4803387"/>
            <a:ext cx="1098110" cy="1442483"/>
            <a:chOff x="2142677" y="4899207"/>
            <a:chExt cx="1120129" cy="1471408"/>
          </a:xfrm>
        </p:grpSpPr>
        <p:sp>
          <p:nvSpPr>
            <p:cNvPr id="132" name="Oval 131">
              <a:extLst>
                <a:ext uri="{FF2B5EF4-FFF2-40B4-BE49-F238E27FC236}">
                  <a16:creationId xmlns:a16="http://schemas.microsoft.com/office/drawing/2014/main" id="{D6D1CB45-B8CF-4397-A70B-2D0305331627}"/>
                </a:ext>
              </a:extLst>
            </p:cNvPr>
            <p:cNvSpPr/>
            <p:nvPr/>
          </p:nvSpPr>
          <p:spPr>
            <a:xfrm>
              <a:off x="2176529" y="4941404"/>
              <a:ext cx="1054966" cy="1054966"/>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4" name="Donut 59">
              <a:extLst>
                <a:ext uri="{FF2B5EF4-FFF2-40B4-BE49-F238E27FC236}">
                  <a16:creationId xmlns:a16="http://schemas.microsoft.com/office/drawing/2014/main" id="{220D1F5B-4AAB-4421-A1E6-6A82F0498DB5}"/>
                </a:ext>
              </a:extLst>
            </p:cNvPr>
            <p:cNvSpPr/>
            <p:nvPr/>
          </p:nvSpPr>
          <p:spPr>
            <a:xfrm>
              <a:off x="2142677" y="4899207"/>
              <a:ext cx="1120129" cy="1120129"/>
            </a:xfrm>
            <a:prstGeom prst="donut">
              <a:avLst>
                <a:gd name="adj" fmla="val 5791"/>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35" name="Group 134">
              <a:extLst>
                <a:ext uri="{FF2B5EF4-FFF2-40B4-BE49-F238E27FC236}">
                  <a16:creationId xmlns:a16="http://schemas.microsoft.com/office/drawing/2014/main" id="{203B7304-F73D-4866-AC28-A2751EC9C5EE}"/>
                </a:ext>
              </a:extLst>
            </p:cNvPr>
            <p:cNvGrpSpPr/>
            <p:nvPr/>
          </p:nvGrpSpPr>
          <p:grpSpPr>
            <a:xfrm>
              <a:off x="2339088" y="5025037"/>
              <a:ext cx="770217" cy="833800"/>
              <a:chOff x="10804526" y="3363913"/>
              <a:chExt cx="2538413" cy="2747963"/>
            </a:xfrm>
            <a:solidFill>
              <a:schemeClr val="accent1"/>
            </a:solidFill>
          </p:grpSpPr>
          <p:sp>
            <p:nvSpPr>
              <p:cNvPr id="136" name="Freeform 256">
                <a:extLst>
                  <a:ext uri="{FF2B5EF4-FFF2-40B4-BE49-F238E27FC236}">
                    <a16:creationId xmlns:a16="http://schemas.microsoft.com/office/drawing/2014/main" id="{8C06C1EC-53DE-4F86-B4A1-F0DE93D5D103}"/>
                  </a:ext>
                </a:extLst>
              </p:cNvPr>
              <p:cNvSpPr>
                <a:spLocks noEditPoints="1"/>
              </p:cNvSpPr>
              <p:nvPr/>
            </p:nvSpPr>
            <p:spPr bwMode="auto">
              <a:xfrm>
                <a:off x="11636376" y="3363913"/>
                <a:ext cx="503238" cy="501650"/>
              </a:xfrm>
              <a:custGeom>
                <a:avLst/>
                <a:gdLst>
                  <a:gd name="T0" fmla="*/ 282 w 633"/>
                  <a:gd name="T1" fmla="*/ 122 h 632"/>
                  <a:gd name="T2" fmla="*/ 217 w 633"/>
                  <a:gd name="T3" fmla="*/ 145 h 632"/>
                  <a:gd name="T4" fmla="*/ 166 w 633"/>
                  <a:gd name="T5" fmla="*/ 188 h 632"/>
                  <a:gd name="T6" fmla="*/ 132 w 633"/>
                  <a:gd name="T7" fmla="*/ 247 h 632"/>
                  <a:gd name="T8" fmla="*/ 119 w 633"/>
                  <a:gd name="T9" fmla="*/ 316 h 632"/>
                  <a:gd name="T10" fmla="*/ 132 w 633"/>
                  <a:gd name="T11" fmla="*/ 385 h 632"/>
                  <a:gd name="T12" fmla="*/ 166 w 633"/>
                  <a:gd name="T13" fmla="*/ 443 h 632"/>
                  <a:gd name="T14" fmla="*/ 217 w 633"/>
                  <a:gd name="T15" fmla="*/ 486 h 632"/>
                  <a:gd name="T16" fmla="*/ 282 w 633"/>
                  <a:gd name="T17" fmla="*/ 510 h 632"/>
                  <a:gd name="T18" fmla="*/ 353 w 633"/>
                  <a:gd name="T19" fmla="*/ 510 h 632"/>
                  <a:gd name="T20" fmla="*/ 416 w 633"/>
                  <a:gd name="T21" fmla="*/ 486 h 632"/>
                  <a:gd name="T22" fmla="*/ 468 w 633"/>
                  <a:gd name="T23" fmla="*/ 443 h 632"/>
                  <a:gd name="T24" fmla="*/ 503 w 633"/>
                  <a:gd name="T25" fmla="*/ 385 h 632"/>
                  <a:gd name="T26" fmla="*/ 514 w 633"/>
                  <a:gd name="T27" fmla="*/ 316 h 632"/>
                  <a:gd name="T28" fmla="*/ 503 w 633"/>
                  <a:gd name="T29" fmla="*/ 247 h 632"/>
                  <a:gd name="T30" fmla="*/ 468 w 633"/>
                  <a:gd name="T31" fmla="*/ 188 h 632"/>
                  <a:gd name="T32" fmla="*/ 416 w 633"/>
                  <a:gd name="T33" fmla="*/ 145 h 632"/>
                  <a:gd name="T34" fmla="*/ 353 w 633"/>
                  <a:gd name="T35" fmla="*/ 122 h 632"/>
                  <a:gd name="T36" fmla="*/ 317 w 633"/>
                  <a:gd name="T37" fmla="*/ 0 h 632"/>
                  <a:gd name="T38" fmla="*/ 402 w 633"/>
                  <a:gd name="T39" fmla="*/ 11 h 632"/>
                  <a:gd name="T40" fmla="*/ 478 w 633"/>
                  <a:gd name="T41" fmla="*/ 43 h 632"/>
                  <a:gd name="T42" fmla="*/ 541 w 633"/>
                  <a:gd name="T43" fmla="*/ 93 h 632"/>
                  <a:gd name="T44" fmla="*/ 590 w 633"/>
                  <a:gd name="T45" fmla="*/ 156 h 632"/>
                  <a:gd name="T46" fmla="*/ 623 w 633"/>
                  <a:gd name="T47" fmla="*/ 232 h 632"/>
                  <a:gd name="T48" fmla="*/ 633 w 633"/>
                  <a:gd name="T49" fmla="*/ 316 h 632"/>
                  <a:gd name="T50" fmla="*/ 623 w 633"/>
                  <a:gd name="T51" fmla="*/ 400 h 632"/>
                  <a:gd name="T52" fmla="*/ 590 w 633"/>
                  <a:gd name="T53" fmla="*/ 475 h 632"/>
                  <a:gd name="T54" fmla="*/ 541 w 633"/>
                  <a:gd name="T55" fmla="*/ 539 h 632"/>
                  <a:gd name="T56" fmla="*/ 478 w 633"/>
                  <a:gd name="T57" fmla="*/ 589 h 632"/>
                  <a:gd name="T58" fmla="*/ 402 w 633"/>
                  <a:gd name="T59" fmla="*/ 620 h 632"/>
                  <a:gd name="T60" fmla="*/ 317 w 633"/>
                  <a:gd name="T61" fmla="*/ 632 h 632"/>
                  <a:gd name="T62" fmla="*/ 233 w 633"/>
                  <a:gd name="T63" fmla="*/ 620 h 632"/>
                  <a:gd name="T64" fmla="*/ 157 w 633"/>
                  <a:gd name="T65" fmla="*/ 589 h 632"/>
                  <a:gd name="T66" fmla="*/ 93 w 633"/>
                  <a:gd name="T67" fmla="*/ 539 h 632"/>
                  <a:gd name="T68" fmla="*/ 43 w 633"/>
                  <a:gd name="T69" fmla="*/ 475 h 632"/>
                  <a:gd name="T70" fmla="*/ 12 w 633"/>
                  <a:gd name="T71" fmla="*/ 400 h 632"/>
                  <a:gd name="T72" fmla="*/ 0 w 633"/>
                  <a:gd name="T73" fmla="*/ 316 h 632"/>
                  <a:gd name="T74" fmla="*/ 12 w 633"/>
                  <a:gd name="T75" fmla="*/ 232 h 632"/>
                  <a:gd name="T76" fmla="*/ 43 w 633"/>
                  <a:gd name="T77" fmla="*/ 156 h 632"/>
                  <a:gd name="T78" fmla="*/ 93 w 633"/>
                  <a:gd name="T79" fmla="*/ 93 h 632"/>
                  <a:gd name="T80" fmla="*/ 157 w 633"/>
                  <a:gd name="T81" fmla="*/ 43 h 632"/>
                  <a:gd name="T82" fmla="*/ 233 w 633"/>
                  <a:gd name="T83" fmla="*/ 11 h 632"/>
                  <a:gd name="T84" fmla="*/ 317 w 633"/>
                  <a:gd name="T8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3" h="632">
                    <a:moveTo>
                      <a:pt x="317" y="119"/>
                    </a:moveTo>
                    <a:lnTo>
                      <a:pt x="282" y="122"/>
                    </a:lnTo>
                    <a:lnTo>
                      <a:pt x="248" y="131"/>
                    </a:lnTo>
                    <a:lnTo>
                      <a:pt x="217" y="145"/>
                    </a:lnTo>
                    <a:lnTo>
                      <a:pt x="190" y="165"/>
                    </a:lnTo>
                    <a:lnTo>
                      <a:pt x="166" y="188"/>
                    </a:lnTo>
                    <a:lnTo>
                      <a:pt x="147" y="217"/>
                    </a:lnTo>
                    <a:lnTo>
                      <a:pt x="132" y="247"/>
                    </a:lnTo>
                    <a:lnTo>
                      <a:pt x="122" y="280"/>
                    </a:lnTo>
                    <a:lnTo>
                      <a:pt x="119" y="316"/>
                    </a:lnTo>
                    <a:lnTo>
                      <a:pt x="122" y="351"/>
                    </a:lnTo>
                    <a:lnTo>
                      <a:pt x="132" y="385"/>
                    </a:lnTo>
                    <a:lnTo>
                      <a:pt x="147" y="415"/>
                    </a:lnTo>
                    <a:lnTo>
                      <a:pt x="166" y="443"/>
                    </a:lnTo>
                    <a:lnTo>
                      <a:pt x="190" y="467"/>
                    </a:lnTo>
                    <a:lnTo>
                      <a:pt x="217" y="486"/>
                    </a:lnTo>
                    <a:lnTo>
                      <a:pt x="248" y="501"/>
                    </a:lnTo>
                    <a:lnTo>
                      <a:pt x="282" y="510"/>
                    </a:lnTo>
                    <a:lnTo>
                      <a:pt x="317" y="513"/>
                    </a:lnTo>
                    <a:lnTo>
                      <a:pt x="353" y="510"/>
                    </a:lnTo>
                    <a:lnTo>
                      <a:pt x="386" y="501"/>
                    </a:lnTo>
                    <a:lnTo>
                      <a:pt x="416" y="486"/>
                    </a:lnTo>
                    <a:lnTo>
                      <a:pt x="445" y="467"/>
                    </a:lnTo>
                    <a:lnTo>
                      <a:pt x="468" y="443"/>
                    </a:lnTo>
                    <a:lnTo>
                      <a:pt x="488" y="415"/>
                    </a:lnTo>
                    <a:lnTo>
                      <a:pt x="503" y="385"/>
                    </a:lnTo>
                    <a:lnTo>
                      <a:pt x="511" y="351"/>
                    </a:lnTo>
                    <a:lnTo>
                      <a:pt x="514" y="316"/>
                    </a:lnTo>
                    <a:lnTo>
                      <a:pt x="511" y="280"/>
                    </a:lnTo>
                    <a:lnTo>
                      <a:pt x="503" y="247"/>
                    </a:lnTo>
                    <a:lnTo>
                      <a:pt x="488" y="217"/>
                    </a:lnTo>
                    <a:lnTo>
                      <a:pt x="468" y="188"/>
                    </a:lnTo>
                    <a:lnTo>
                      <a:pt x="445" y="165"/>
                    </a:lnTo>
                    <a:lnTo>
                      <a:pt x="416" y="145"/>
                    </a:lnTo>
                    <a:lnTo>
                      <a:pt x="386" y="131"/>
                    </a:lnTo>
                    <a:lnTo>
                      <a:pt x="353" y="122"/>
                    </a:lnTo>
                    <a:lnTo>
                      <a:pt x="317" y="119"/>
                    </a:lnTo>
                    <a:close/>
                    <a:moveTo>
                      <a:pt x="317" y="0"/>
                    </a:moveTo>
                    <a:lnTo>
                      <a:pt x="361" y="2"/>
                    </a:lnTo>
                    <a:lnTo>
                      <a:pt x="402" y="11"/>
                    </a:lnTo>
                    <a:lnTo>
                      <a:pt x="441" y="24"/>
                    </a:lnTo>
                    <a:lnTo>
                      <a:pt x="478" y="43"/>
                    </a:lnTo>
                    <a:lnTo>
                      <a:pt x="511" y="65"/>
                    </a:lnTo>
                    <a:lnTo>
                      <a:pt x="541" y="93"/>
                    </a:lnTo>
                    <a:lnTo>
                      <a:pt x="568" y="122"/>
                    </a:lnTo>
                    <a:lnTo>
                      <a:pt x="590" y="156"/>
                    </a:lnTo>
                    <a:lnTo>
                      <a:pt x="609" y="193"/>
                    </a:lnTo>
                    <a:lnTo>
                      <a:pt x="623" y="232"/>
                    </a:lnTo>
                    <a:lnTo>
                      <a:pt x="631" y="272"/>
                    </a:lnTo>
                    <a:lnTo>
                      <a:pt x="633" y="316"/>
                    </a:lnTo>
                    <a:lnTo>
                      <a:pt x="631" y="359"/>
                    </a:lnTo>
                    <a:lnTo>
                      <a:pt x="623" y="400"/>
                    </a:lnTo>
                    <a:lnTo>
                      <a:pt x="609" y="439"/>
                    </a:lnTo>
                    <a:lnTo>
                      <a:pt x="590" y="475"/>
                    </a:lnTo>
                    <a:lnTo>
                      <a:pt x="568" y="509"/>
                    </a:lnTo>
                    <a:lnTo>
                      <a:pt x="541" y="539"/>
                    </a:lnTo>
                    <a:lnTo>
                      <a:pt x="511" y="566"/>
                    </a:lnTo>
                    <a:lnTo>
                      <a:pt x="478" y="589"/>
                    </a:lnTo>
                    <a:lnTo>
                      <a:pt x="441" y="607"/>
                    </a:lnTo>
                    <a:lnTo>
                      <a:pt x="402" y="620"/>
                    </a:lnTo>
                    <a:lnTo>
                      <a:pt x="361" y="629"/>
                    </a:lnTo>
                    <a:lnTo>
                      <a:pt x="317" y="632"/>
                    </a:lnTo>
                    <a:lnTo>
                      <a:pt x="274" y="629"/>
                    </a:lnTo>
                    <a:lnTo>
                      <a:pt x="233" y="620"/>
                    </a:lnTo>
                    <a:lnTo>
                      <a:pt x="194" y="607"/>
                    </a:lnTo>
                    <a:lnTo>
                      <a:pt x="157" y="589"/>
                    </a:lnTo>
                    <a:lnTo>
                      <a:pt x="123" y="566"/>
                    </a:lnTo>
                    <a:lnTo>
                      <a:pt x="93" y="539"/>
                    </a:lnTo>
                    <a:lnTo>
                      <a:pt x="67" y="509"/>
                    </a:lnTo>
                    <a:lnTo>
                      <a:pt x="43" y="475"/>
                    </a:lnTo>
                    <a:lnTo>
                      <a:pt x="26" y="439"/>
                    </a:lnTo>
                    <a:lnTo>
                      <a:pt x="12" y="400"/>
                    </a:lnTo>
                    <a:lnTo>
                      <a:pt x="3" y="359"/>
                    </a:lnTo>
                    <a:lnTo>
                      <a:pt x="0" y="316"/>
                    </a:lnTo>
                    <a:lnTo>
                      <a:pt x="3" y="272"/>
                    </a:lnTo>
                    <a:lnTo>
                      <a:pt x="12" y="232"/>
                    </a:lnTo>
                    <a:lnTo>
                      <a:pt x="26" y="193"/>
                    </a:lnTo>
                    <a:lnTo>
                      <a:pt x="43" y="156"/>
                    </a:lnTo>
                    <a:lnTo>
                      <a:pt x="67" y="122"/>
                    </a:lnTo>
                    <a:lnTo>
                      <a:pt x="93" y="93"/>
                    </a:lnTo>
                    <a:lnTo>
                      <a:pt x="123" y="65"/>
                    </a:lnTo>
                    <a:lnTo>
                      <a:pt x="157" y="43"/>
                    </a:lnTo>
                    <a:lnTo>
                      <a:pt x="194" y="24"/>
                    </a:lnTo>
                    <a:lnTo>
                      <a:pt x="233" y="11"/>
                    </a:lnTo>
                    <a:lnTo>
                      <a:pt x="274" y="2"/>
                    </a:lnTo>
                    <a:lnTo>
                      <a:pt x="317"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7" name="Freeform 257">
                <a:extLst>
                  <a:ext uri="{FF2B5EF4-FFF2-40B4-BE49-F238E27FC236}">
                    <a16:creationId xmlns:a16="http://schemas.microsoft.com/office/drawing/2014/main" id="{091B171F-C9C8-4612-A173-097C0759C5B5}"/>
                  </a:ext>
                </a:extLst>
              </p:cNvPr>
              <p:cNvSpPr>
                <a:spLocks/>
              </p:cNvSpPr>
              <p:nvPr/>
            </p:nvSpPr>
            <p:spPr bwMode="auto">
              <a:xfrm>
                <a:off x="10804526" y="4906963"/>
                <a:ext cx="654050" cy="1204913"/>
              </a:xfrm>
              <a:custGeom>
                <a:avLst/>
                <a:gdLst>
                  <a:gd name="T0" fmla="*/ 24 w 823"/>
                  <a:gd name="T1" fmla="*/ 0 h 1519"/>
                  <a:gd name="T2" fmla="*/ 352 w 823"/>
                  <a:gd name="T3" fmla="*/ 576 h 1519"/>
                  <a:gd name="T4" fmla="*/ 176 w 823"/>
                  <a:gd name="T5" fmla="*/ 429 h 1519"/>
                  <a:gd name="T6" fmla="*/ 181 w 823"/>
                  <a:gd name="T7" fmla="*/ 502 h 1519"/>
                  <a:gd name="T8" fmla="*/ 189 w 823"/>
                  <a:gd name="T9" fmla="*/ 570 h 1519"/>
                  <a:gd name="T10" fmla="*/ 199 w 823"/>
                  <a:gd name="T11" fmla="*/ 633 h 1519"/>
                  <a:gd name="T12" fmla="*/ 212 w 823"/>
                  <a:gd name="T13" fmla="*/ 692 h 1519"/>
                  <a:gd name="T14" fmla="*/ 228 w 823"/>
                  <a:gd name="T15" fmla="*/ 748 h 1519"/>
                  <a:gd name="T16" fmla="*/ 244 w 823"/>
                  <a:gd name="T17" fmla="*/ 798 h 1519"/>
                  <a:gd name="T18" fmla="*/ 263 w 823"/>
                  <a:gd name="T19" fmla="*/ 845 h 1519"/>
                  <a:gd name="T20" fmla="*/ 283 w 823"/>
                  <a:gd name="T21" fmla="*/ 888 h 1519"/>
                  <a:gd name="T22" fmla="*/ 304 w 823"/>
                  <a:gd name="T23" fmla="*/ 928 h 1519"/>
                  <a:gd name="T24" fmla="*/ 326 w 823"/>
                  <a:gd name="T25" fmla="*/ 964 h 1519"/>
                  <a:gd name="T26" fmla="*/ 348 w 823"/>
                  <a:gd name="T27" fmla="*/ 997 h 1519"/>
                  <a:gd name="T28" fmla="*/ 370 w 823"/>
                  <a:gd name="T29" fmla="*/ 1026 h 1519"/>
                  <a:gd name="T30" fmla="*/ 392 w 823"/>
                  <a:gd name="T31" fmla="*/ 1052 h 1519"/>
                  <a:gd name="T32" fmla="*/ 413 w 823"/>
                  <a:gd name="T33" fmla="*/ 1076 h 1519"/>
                  <a:gd name="T34" fmla="*/ 434 w 823"/>
                  <a:gd name="T35" fmla="*/ 1097 h 1519"/>
                  <a:gd name="T36" fmla="*/ 454 w 823"/>
                  <a:gd name="T37" fmla="*/ 1114 h 1519"/>
                  <a:gd name="T38" fmla="*/ 472 w 823"/>
                  <a:gd name="T39" fmla="*/ 1129 h 1519"/>
                  <a:gd name="T40" fmla="*/ 488 w 823"/>
                  <a:gd name="T41" fmla="*/ 1142 h 1519"/>
                  <a:gd name="T42" fmla="*/ 526 w 823"/>
                  <a:gd name="T43" fmla="*/ 1170 h 1519"/>
                  <a:gd name="T44" fmla="*/ 564 w 823"/>
                  <a:gd name="T45" fmla="*/ 1194 h 1519"/>
                  <a:gd name="T46" fmla="*/ 602 w 823"/>
                  <a:gd name="T47" fmla="*/ 1216 h 1519"/>
                  <a:gd name="T48" fmla="*/ 641 w 823"/>
                  <a:gd name="T49" fmla="*/ 1234 h 1519"/>
                  <a:gd name="T50" fmla="*/ 682 w 823"/>
                  <a:gd name="T51" fmla="*/ 1250 h 1519"/>
                  <a:gd name="T52" fmla="*/ 725 w 823"/>
                  <a:gd name="T53" fmla="*/ 1262 h 1519"/>
                  <a:gd name="T54" fmla="*/ 772 w 823"/>
                  <a:gd name="T55" fmla="*/ 1270 h 1519"/>
                  <a:gd name="T56" fmla="*/ 823 w 823"/>
                  <a:gd name="T57" fmla="*/ 1276 h 1519"/>
                  <a:gd name="T58" fmla="*/ 788 w 823"/>
                  <a:gd name="T59" fmla="*/ 1519 h 1519"/>
                  <a:gd name="T60" fmla="*/ 728 w 823"/>
                  <a:gd name="T61" fmla="*/ 1514 h 1519"/>
                  <a:gd name="T62" fmla="*/ 668 w 823"/>
                  <a:gd name="T63" fmla="*/ 1502 h 1519"/>
                  <a:gd name="T64" fmla="*/ 609 w 823"/>
                  <a:gd name="T65" fmla="*/ 1484 h 1519"/>
                  <a:gd name="T66" fmla="*/ 552 w 823"/>
                  <a:gd name="T67" fmla="*/ 1460 h 1519"/>
                  <a:gd name="T68" fmla="*/ 496 w 823"/>
                  <a:gd name="T69" fmla="*/ 1432 h 1519"/>
                  <a:gd name="T70" fmla="*/ 444 w 823"/>
                  <a:gd name="T71" fmla="*/ 1399 h 1519"/>
                  <a:gd name="T72" fmla="*/ 394 w 823"/>
                  <a:gd name="T73" fmla="*/ 1363 h 1519"/>
                  <a:gd name="T74" fmla="*/ 348 w 823"/>
                  <a:gd name="T75" fmla="*/ 1325 h 1519"/>
                  <a:gd name="T76" fmla="*/ 305 w 823"/>
                  <a:gd name="T77" fmla="*/ 1284 h 1519"/>
                  <a:gd name="T78" fmla="*/ 269 w 823"/>
                  <a:gd name="T79" fmla="*/ 1241 h 1519"/>
                  <a:gd name="T80" fmla="*/ 235 w 823"/>
                  <a:gd name="T81" fmla="*/ 1197 h 1519"/>
                  <a:gd name="T82" fmla="*/ 208 w 823"/>
                  <a:gd name="T83" fmla="*/ 1154 h 1519"/>
                  <a:gd name="T84" fmla="*/ 178 w 823"/>
                  <a:gd name="T85" fmla="*/ 1098 h 1519"/>
                  <a:gd name="T86" fmla="*/ 149 w 823"/>
                  <a:gd name="T87" fmla="*/ 1036 h 1519"/>
                  <a:gd name="T88" fmla="*/ 121 w 823"/>
                  <a:gd name="T89" fmla="*/ 969 h 1519"/>
                  <a:gd name="T90" fmla="*/ 96 w 823"/>
                  <a:gd name="T91" fmla="*/ 898 h 1519"/>
                  <a:gd name="T92" fmla="*/ 72 w 823"/>
                  <a:gd name="T93" fmla="*/ 823 h 1519"/>
                  <a:gd name="T94" fmla="*/ 52 w 823"/>
                  <a:gd name="T95" fmla="*/ 744 h 1519"/>
                  <a:gd name="T96" fmla="*/ 34 w 823"/>
                  <a:gd name="T97" fmla="*/ 661 h 1519"/>
                  <a:gd name="T98" fmla="*/ 20 w 823"/>
                  <a:gd name="T99" fmla="*/ 575 h 1519"/>
                  <a:gd name="T100" fmla="*/ 9 w 823"/>
                  <a:gd name="T101" fmla="*/ 486 h 1519"/>
                  <a:gd name="T102" fmla="*/ 2 w 823"/>
                  <a:gd name="T103" fmla="*/ 393 h 1519"/>
                  <a:gd name="T104" fmla="*/ 0 w 823"/>
                  <a:gd name="T105" fmla="*/ 299 h 1519"/>
                  <a:gd name="T106" fmla="*/ 3 w 823"/>
                  <a:gd name="T107" fmla="*/ 201 h 1519"/>
                  <a:gd name="T108" fmla="*/ 10 w 823"/>
                  <a:gd name="T109" fmla="*/ 102 h 1519"/>
                  <a:gd name="T110" fmla="*/ 24 w 823"/>
                  <a:gd name="T11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3" h="1519">
                    <a:moveTo>
                      <a:pt x="24" y="0"/>
                    </a:moveTo>
                    <a:lnTo>
                      <a:pt x="352" y="576"/>
                    </a:lnTo>
                    <a:lnTo>
                      <a:pt x="176" y="429"/>
                    </a:lnTo>
                    <a:lnTo>
                      <a:pt x="181" y="502"/>
                    </a:lnTo>
                    <a:lnTo>
                      <a:pt x="189" y="570"/>
                    </a:lnTo>
                    <a:lnTo>
                      <a:pt x="199" y="633"/>
                    </a:lnTo>
                    <a:lnTo>
                      <a:pt x="212" y="692"/>
                    </a:lnTo>
                    <a:lnTo>
                      <a:pt x="228" y="748"/>
                    </a:lnTo>
                    <a:lnTo>
                      <a:pt x="244" y="798"/>
                    </a:lnTo>
                    <a:lnTo>
                      <a:pt x="263" y="845"/>
                    </a:lnTo>
                    <a:lnTo>
                      <a:pt x="283" y="888"/>
                    </a:lnTo>
                    <a:lnTo>
                      <a:pt x="304" y="928"/>
                    </a:lnTo>
                    <a:lnTo>
                      <a:pt x="326" y="964"/>
                    </a:lnTo>
                    <a:lnTo>
                      <a:pt x="348" y="997"/>
                    </a:lnTo>
                    <a:lnTo>
                      <a:pt x="370" y="1026"/>
                    </a:lnTo>
                    <a:lnTo>
                      <a:pt x="392" y="1052"/>
                    </a:lnTo>
                    <a:lnTo>
                      <a:pt x="413" y="1076"/>
                    </a:lnTo>
                    <a:lnTo>
                      <a:pt x="434" y="1097"/>
                    </a:lnTo>
                    <a:lnTo>
                      <a:pt x="454" y="1114"/>
                    </a:lnTo>
                    <a:lnTo>
                      <a:pt x="472" y="1129"/>
                    </a:lnTo>
                    <a:lnTo>
                      <a:pt x="488" y="1142"/>
                    </a:lnTo>
                    <a:lnTo>
                      <a:pt x="526" y="1170"/>
                    </a:lnTo>
                    <a:lnTo>
                      <a:pt x="564" y="1194"/>
                    </a:lnTo>
                    <a:lnTo>
                      <a:pt x="602" y="1216"/>
                    </a:lnTo>
                    <a:lnTo>
                      <a:pt x="641" y="1234"/>
                    </a:lnTo>
                    <a:lnTo>
                      <a:pt x="682" y="1250"/>
                    </a:lnTo>
                    <a:lnTo>
                      <a:pt x="725" y="1262"/>
                    </a:lnTo>
                    <a:lnTo>
                      <a:pt x="772" y="1270"/>
                    </a:lnTo>
                    <a:lnTo>
                      <a:pt x="823" y="1276"/>
                    </a:lnTo>
                    <a:lnTo>
                      <a:pt x="788" y="1519"/>
                    </a:lnTo>
                    <a:lnTo>
                      <a:pt x="728" y="1514"/>
                    </a:lnTo>
                    <a:lnTo>
                      <a:pt x="668" y="1502"/>
                    </a:lnTo>
                    <a:lnTo>
                      <a:pt x="609" y="1484"/>
                    </a:lnTo>
                    <a:lnTo>
                      <a:pt x="552" y="1460"/>
                    </a:lnTo>
                    <a:lnTo>
                      <a:pt x="496" y="1432"/>
                    </a:lnTo>
                    <a:lnTo>
                      <a:pt x="444" y="1399"/>
                    </a:lnTo>
                    <a:lnTo>
                      <a:pt x="394" y="1363"/>
                    </a:lnTo>
                    <a:lnTo>
                      <a:pt x="348" y="1325"/>
                    </a:lnTo>
                    <a:lnTo>
                      <a:pt x="305" y="1284"/>
                    </a:lnTo>
                    <a:lnTo>
                      <a:pt x="269" y="1241"/>
                    </a:lnTo>
                    <a:lnTo>
                      <a:pt x="235" y="1197"/>
                    </a:lnTo>
                    <a:lnTo>
                      <a:pt x="208" y="1154"/>
                    </a:lnTo>
                    <a:lnTo>
                      <a:pt x="178" y="1098"/>
                    </a:lnTo>
                    <a:lnTo>
                      <a:pt x="149" y="1036"/>
                    </a:lnTo>
                    <a:lnTo>
                      <a:pt x="121" y="969"/>
                    </a:lnTo>
                    <a:lnTo>
                      <a:pt x="96" y="898"/>
                    </a:lnTo>
                    <a:lnTo>
                      <a:pt x="72" y="823"/>
                    </a:lnTo>
                    <a:lnTo>
                      <a:pt x="52" y="744"/>
                    </a:lnTo>
                    <a:lnTo>
                      <a:pt x="34" y="661"/>
                    </a:lnTo>
                    <a:lnTo>
                      <a:pt x="20" y="575"/>
                    </a:lnTo>
                    <a:lnTo>
                      <a:pt x="9" y="486"/>
                    </a:lnTo>
                    <a:lnTo>
                      <a:pt x="2" y="393"/>
                    </a:lnTo>
                    <a:lnTo>
                      <a:pt x="0" y="299"/>
                    </a:lnTo>
                    <a:lnTo>
                      <a:pt x="3" y="201"/>
                    </a:lnTo>
                    <a:lnTo>
                      <a:pt x="10" y="102"/>
                    </a:lnTo>
                    <a:lnTo>
                      <a:pt x="24"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8" name="Freeform 258">
                <a:extLst>
                  <a:ext uri="{FF2B5EF4-FFF2-40B4-BE49-F238E27FC236}">
                    <a16:creationId xmlns:a16="http://schemas.microsoft.com/office/drawing/2014/main" id="{1788B8EF-3E41-4885-8737-7995DD58371B}"/>
                  </a:ext>
                </a:extLst>
              </p:cNvPr>
              <p:cNvSpPr>
                <a:spLocks noEditPoints="1"/>
              </p:cNvSpPr>
              <p:nvPr/>
            </p:nvSpPr>
            <p:spPr bwMode="auto">
              <a:xfrm>
                <a:off x="11398251" y="4092575"/>
                <a:ext cx="1944688" cy="1384300"/>
              </a:xfrm>
              <a:custGeom>
                <a:avLst/>
                <a:gdLst>
                  <a:gd name="T0" fmla="*/ 2450 w 2450"/>
                  <a:gd name="T1" fmla="*/ 472 h 1743"/>
                  <a:gd name="T2" fmla="*/ 2450 w 2450"/>
                  <a:gd name="T3" fmla="*/ 1743 h 1743"/>
                  <a:gd name="T4" fmla="*/ 0 w 2450"/>
                  <a:gd name="T5" fmla="*/ 1743 h 1743"/>
                  <a:gd name="T6" fmla="*/ 0 w 2450"/>
                  <a:gd name="T7" fmla="*/ 500 h 1743"/>
                  <a:gd name="T8" fmla="*/ 1195 w 2450"/>
                  <a:gd name="T9" fmla="*/ 1163 h 1743"/>
                  <a:gd name="T10" fmla="*/ 1200 w 2450"/>
                  <a:gd name="T11" fmla="*/ 1154 h 1743"/>
                  <a:gd name="T12" fmla="*/ 1204 w 2450"/>
                  <a:gd name="T13" fmla="*/ 1163 h 1743"/>
                  <a:gd name="T14" fmla="*/ 2450 w 2450"/>
                  <a:gd name="T15" fmla="*/ 472 h 1743"/>
                  <a:gd name="T16" fmla="*/ 0 w 2450"/>
                  <a:gd name="T17" fmla="*/ 0 h 1743"/>
                  <a:gd name="T18" fmla="*/ 2450 w 2450"/>
                  <a:gd name="T19" fmla="*/ 0 h 1743"/>
                  <a:gd name="T20" fmla="*/ 2450 w 2450"/>
                  <a:gd name="T21" fmla="*/ 185 h 1743"/>
                  <a:gd name="T22" fmla="*/ 1200 w 2450"/>
                  <a:gd name="T23" fmla="*/ 878 h 1743"/>
                  <a:gd name="T24" fmla="*/ 0 w 2450"/>
                  <a:gd name="T25" fmla="*/ 212 h 1743"/>
                  <a:gd name="T26" fmla="*/ 0 w 2450"/>
                  <a:gd name="T27" fmla="*/ 0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0" h="1743">
                    <a:moveTo>
                      <a:pt x="2450" y="472"/>
                    </a:moveTo>
                    <a:lnTo>
                      <a:pt x="2450" y="1743"/>
                    </a:lnTo>
                    <a:lnTo>
                      <a:pt x="0" y="1743"/>
                    </a:lnTo>
                    <a:lnTo>
                      <a:pt x="0" y="500"/>
                    </a:lnTo>
                    <a:lnTo>
                      <a:pt x="1195" y="1163"/>
                    </a:lnTo>
                    <a:lnTo>
                      <a:pt x="1200" y="1154"/>
                    </a:lnTo>
                    <a:lnTo>
                      <a:pt x="1204" y="1163"/>
                    </a:lnTo>
                    <a:lnTo>
                      <a:pt x="2450" y="472"/>
                    </a:lnTo>
                    <a:close/>
                    <a:moveTo>
                      <a:pt x="0" y="0"/>
                    </a:moveTo>
                    <a:lnTo>
                      <a:pt x="2450" y="0"/>
                    </a:lnTo>
                    <a:lnTo>
                      <a:pt x="2450" y="185"/>
                    </a:lnTo>
                    <a:lnTo>
                      <a:pt x="1200" y="878"/>
                    </a:lnTo>
                    <a:lnTo>
                      <a:pt x="0" y="212"/>
                    </a:lnTo>
                    <a:lnTo>
                      <a:pt x="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39" name="Rectangle 259">
                <a:extLst>
                  <a:ext uri="{FF2B5EF4-FFF2-40B4-BE49-F238E27FC236}">
                    <a16:creationId xmlns:a16="http://schemas.microsoft.com/office/drawing/2014/main" id="{86533B29-42C0-4C60-8E3A-21A03693664A}"/>
                  </a:ext>
                </a:extLst>
              </p:cNvPr>
              <p:cNvSpPr>
                <a:spLocks noChangeArrowheads="1"/>
              </p:cNvSpPr>
              <p:nvPr/>
            </p:nvSpPr>
            <p:spPr bwMode="auto">
              <a:xfrm>
                <a:off x="11763376" y="3789363"/>
                <a:ext cx="246063" cy="442913"/>
              </a:xfrm>
              <a:prstGeom prst="rect">
                <a:avLst/>
              </a:prstGeom>
              <a:grpFill/>
              <a:ln w="0">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40" name="Freeform 260">
                <a:extLst>
                  <a:ext uri="{FF2B5EF4-FFF2-40B4-BE49-F238E27FC236}">
                    <a16:creationId xmlns:a16="http://schemas.microsoft.com/office/drawing/2014/main" id="{EDC0FDF9-C94E-4D11-AB35-148C213A1DF7}"/>
                  </a:ext>
                </a:extLst>
              </p:cNvPr>
              <p:cNvSpPr>
                <a:spLocks/>
              </p:cNvSpPr>
              <p:nvPr/>
            </p:nvSpPr>
            <p:spPr bwMode="auto">
              <a:xfrm>
                <a:off x="11398251" y="4906963"/>
                <a:ext cx="611188" cy="1204913"/>
              </a:xfrm>
              <a:custGeom>
                <a:avLst/>
                <a:gdLst>
                  <a:gd name="T0" fmla="*/ 459 w 770"/>
                  <a:gd name="T1" fmla="*/ 0 h 1519"/>
                  <a:gd name="T2" fmla="*/ 770 w 770"/>
                  <a:gd name="T3" fmla="*/ 0 h 1519"/>
                  <a:gd name="T4" fmla="*/ 770 w 770"/>
                  <a:gd name="T5" fmla="*/ 625 h 1519"/>
                  <a:gd name="T6" fmla="*/ 768 w 770"/>
                  <a:gd name="T7" fmla="*/ 712 h 1519"/>
                  <a:gd name="T8" fmla="*/ 764 w 770"/>
                  <a:gd name="T9" fmla="*/ 794 h 1519"/>
                  <a:gd name="T10" fmla="*/ 756 w 770"/>
                  <a:gd name="T11" fmla="*/ 871 h 1519"/>
                  <a:gd name="T12" fmla="*/ 747 w 770"/>
                  <a:gd name="T13" fmla="*/ 942 h 1519"/>
                  <a:gd name="T14" fmla="*/ 732 w 770"/>
                  <a:gd name="T15" fmla="*/ 1009 h 1519"/>
                  <a:gd name="T16" fmla="*/ 715 w 770"/>
                  <a:gd name="T17" fmla="*/ 1071 h 1519"/>
                  <a:gd name="T18" fmla="*/ 693 w 770"/>
                  <a:gd name="T19" fmla="*/ 1130 h 1519"/>
                  <a:gd name="T20" fmla="*/ 668 w 770"/>
                  <a:gd name="T21" fmla="*/ 1184 h 1519"/>
                  <a:gd name="T22" fmla="*/ 638 w 770"/>
                  <a:gd name="T23" fmla="*/ 1234 h 1519"/>
                  <a:gd name="T24" fmla="*/ 604 w 770"/>
                  <a:gd name="T25" fmla="*/ 1281 h 1519"/>
                  <a:gd name="T26" fmla="*/ 565 w 770"/>
                  <a:gd name="T27" fmla="*/ 1326 h 1519"/>
                  <a:gd name="T28" fmla="*/ 526 w 770"/>
                  <a:gd name="T29" fmla="*/ 1360 h 1519"/>
                  <a:gd name="T30" fmla="*/ 481 w 770"/>
                  <a:gd name="T31" fmla="*/ 1392 h 1519"/>
                  <a:gd name="T32" fmla="*/ 435 w 770"/>
                  <a:gd name="T33" fmla="*/ 1420 h 1519"/>
                  <a:gd name="T34" fmla="*/ 387 w 770"/>
                  <a:gd name="T35" fmla="*/ 1444 h 1519"/>
                  <a:gd name="T36" fmla="*/ 336 w 770"/>
                  <a:gd name="T37" fmla="*/ 1464 h 1519"/>
                  <a:gd name="T38" fmla="*/ 284 w 770"/>
                  <a:gd name="T39" fmla="*/ 1482 h 1519"/>
                  <a:gd name="T40" fmla="*/ 233 w 770"/>
                  <a:gd name="T41" fmla="*/ 1496 h 1519"/>
                  <a:gd name="T42" fmla="*/ 181 w 770"/>
                  <a:gd name="T43" fmla="*/ 1506 h 1519"/>
                  <a:gd name="T44" fmla="*/ 131 w 770"/>
                  <a:gd name="T45" fmla="*/ 1514 h 1519"/>
                  <a:gd name="T46" fmla="*/ 82 w 770"/>
                  <a:gd name="T47" fmla="*/ 1518 h 1519"/>
                  <a:gd name="T48" fmla="*/ 36 w 770"/>
                  <a:gd name="T49" fmla="*/ 1519 h 1519"/>
                  <a:gd name="T50" fmla="*/ 0 w 770"/>
                  <a:gd name="T51" fmla="*/ 1276 h 1519"/>
                  <a:gd name="T52" fmla="*/ 47 w 770"/>
                  <a:gd name="T53" fmla="*/ 1271 h 1519"/>
                  <a:gd name="T54" fmla="*/ 93 w 770"/>
                  <a:gd name="T55" fmla="*/ 1265 h 1519"/>
                  <a:gd name="T56" fmla="*/ 136 w 770"/>
                  <a:gd name="T57" fmla="*/ 1255 h 1519"/>
                  <a:gd name="T58" fmla="*/ 177 w 770"/>
                  <a:gd name="T59" fmla="*/ 1244 h 1519"/>
                  <a:gd name="T60" fmla="*/ 215 w 770"/>
                  <a:gd name="T61" fmla="*/ 1229 h 1519"/>
                  <a:gd name="T62" fmla="*/ 251 w 770"/>
                  <a:gd name="T63" fmla="*/ 1212 h 1519"/>
                  <a:gd name="T64" fmla="*/ 283 w 770"/>
                  <a:gd name="T65" fmla="*/ 1192 h 1519"/>
                  <a:gd name="T66" fmla="*/ 313 w 770"/>
                  <a:gd name="T67" fmla="*/ 1169 h 1519"/>
                  <a:gd name="T68" fmla="*/ 339 w 770"/>
                  <a:gd name="T69" fmla="*/ 1142 h 1519"/>
                  <a:gd name="T70" fmla="*/ 355 w 770"/>
                  <a:gd name="T71" fmla="*/ 1123 h 1519"/>
                  <a:gd name="T72" fmla="*/ 370 w 770"/>
                  <a:gd name="T73" fmla="*/ 1102 h 1519"/>
                  <a:gd name="T74" fmla="*/ 383 w 770"/>
                  <a:gd name="T75" fmla="*/ 1079 h 1519"/>
                  <a:gd name="T76" fmla="*/ 396 w 770"/>
                  <a:gd name="T77" fmla="*/ 1053 h 1519"/>
                  <a:gd name="T78" fmla="*/ 408 w 770"/>
                  <a:gd name="T79" fmla="*/ 1025 h 1519"/>
                  <a:gd name="T80" fmla="*/ 418 w 770"/>
                  <a:gd name="T81" fmla="*/ 995 h 1519"/>
                  <a:gd name="T82" fmla="*/ 427 w 770"/>
                  <a:gd name="T83" fmla="*/ 960 h 1519"/>
                  <a:gd name="T84" fmla="*/ 434 w 770"/>
                  <a:gd name="T85" fmla="*/ 921 h 1519"/>
                  <a:gd name="T86" fmla="*/ 441 w 770"/>
                  <a:gd name="T87" fmla="*/ 878 h 1519"/>
                  <a:gd name="T88" fmla="*/ 447 w 770"/>
                  <a:gd name="T89" fmla="*/ 831 h 1519"/>
                  <a:gd name="T90" fmla="*/ 451 w 770"/>
                  <a:gd name="T91" fmla="*/ 777 h 1519"/>
                  <a:gd name="T92" fmla="*/ 455 w 770"/>
                  <a:gd name="T93" fmla="*/ 719 h 1519"/>
                  <a:gd name="T94" fmla="*/ 457 w 770"/>
                  <a:gd name="T95" fmla="*/ 654 h 1519"/>
                  <a:gd name="T96" fmla="*/ 458 w 770"/>
                  <a:gd name="T97" fmla="*/ 583 h 1519"/>
                  <a:gd name="T98" fmla="*/ 459 w 770"/>
                  <a:gd name="T99" fmla="*/ 505 h 1519"/>
                  <a:gd name="T100" fmla="*/ 459 w 770"/>
                  <a:gd name="T101" fmla="*/ 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0" h="1519">
                    <a:moveTo>
                      <a:pt x="459" y="0"/>
                    </a:moveTo>
                    <a:lnTo>
                      <a:pt x="770" y="0"/>
                    </a:lnTo>
                    <a:lnTo>
                      <a:pt x="770" y="625"/>
                    </a:lnTo>
                    <a:lnTo>
                      <a:pt x="768" y="712"/>
                    </a:lnTo>
                    <a:lnTo>
                      <a:pt x="764" y="794"/>
                    </a:lnTo>
                    <a:lnTo>
                      <a:pt x="756" y="871"/>
                    </a:lnTo>
                    <a:lnTo>
                      <a:pt x="747" y="942"/>
                    </a:lnTo>
                    <a:lnTo>
                      <a:pt x="732" y="1009"/>
                    </a:lnTo>
                    <a:lnTo>
                      <a:pt x="715" y="1071"/>
                    </a:lnTo>
                    <a:lnTo>
                      <a:pt x="693" y="1130"/>
                    </a:lnTo>
                    <a:lnTo>
                      <a:pt x="668" y="1184"/>
                    </a:lnTo>
                    <a:lnTo>
                      <a:pt x="638" y="1234"/>
                    </a:lnTo>
                    <a:lnTo>
                      <a:pt x="604" y="1281"/>
                    </a:lnTo>
                    <a:lnTo>
                      <a:pt x="565" y="1326"/>
                    </a:lnTo>
                    <a:lnTo>
                      <a:pt x="526" y="1360"/>
                    </a:lnTo>
                    <a:lnTo>
                      <a:pt x="481" y="1392"/>
                    </a:lnTo>
                    <a:lnTo>
                      <a:pt x="435" y="1420"/>
                    </a:lnTo>
                    <a:lnTo>
                      <a:pt x="387" y="1444"/>
                    </a:lnTo>
                    <a:lnTo>
                      <a:pt x="336" y="1464"/>
                    </a:lnTo>
                    <a:lnTo>
                      <a:pt x="284" y="1482"/>
                    </a:lnTo>
                    <a:lnTo>
                      <a:pt x="233" y="1496"/>
                    </a:lnTo>
                    <a:lnTo>
                      <a:pt x="181" y="1506"/>
                    </a:lnTo>
                    <a:lnTo>
                      <a:pt x="131" y="1514"/>
                    </a:lnTo>
                    <a:lnTo>
                      <a:pt x="82" y="1518"/>
                    </a:lnTo>
                    <a:lnTo>
                      <a:pt x="36" y="1519"/>
                    </a:lnTo>
                    <a:lnTo>
                      <a:pt x="0" y="1276"/>
                    </a:lnTo>
                    <a:lnTo>
                      <a:pt x="47" y="1271"/>
                    </a:lnTo>
                    <a:lnTo>
                      <a:pt x="93" y="1265"/>
                    </a:lnTo>
                    <a:lnTo>
                      <a:pt x="136" y="1255"/>
                    </a:lnTo>
                    <a:lnTo>
                      <a:pt x="177" y="1244"/>
                    </a:lnTo>
                    <a:lnTo>
                      <a:pt x="215" y="1229"/>
                    </a:lnTo>
                    <a:lnTo>
                      <a:pt x="251" y="1212"/>
                    </a:lnTo>
                    <a:lnTo>
                      <a:pt x="283" y="1192"/>
                    </a:lnTo>
                    <a:lnTo>
                      <a:pt x="313" y="1169"/>
                    </a:lnTo>
                    <a:lnTo>
                      <a:pt x="339" y="1142"/>
                    </a:lnTo>
                    <a:lnTo>
                      <a:pt x="355" y="1123"/>
                    </a:lnTo>
                    <a:lnTo>
                      <a:pt x="370" y="1102"/>
                    </a:lnTo>
                    <a:lnTo>
                      <a:pt x="383" y="1079"/>
                    </a:lnTo>
                    <a:lnTo>
                      <a:pt x="396" y="1053"/>
                    </a:lnTo>
                    <a:lnTo>
                      <a:pt x="408" y="1025"/>
                    </a:lnTo>
                    <a:lnTo>
                      <a:pt x="418" y="995"/>
                    </a:lnTo>
                    <a:lnTo>
                      <a:pt x="427" y="960"/>
                    </a:lnTo>
                    <a:lnTo>
                      <a:pt x="434" y="921"/>
                    </a:lnTo>
                    <a:lnTo>
                      <a:pt x="441" y="878"/>
                    </a:lnTo>
                    <a:lnTo>
                      <a:pt x="447" y="831"/>
                    </a:lnTo>
                    <a:lnTo>
                      <a:pt x="451" y="777"/>
                    </a:lnTo>
                    <a:lnTo>
                      <a:pt x="455" y="719"/>
                    </a:lnTo>
                    <a:lnTo>
                      <a:pt x="457" y="654"/>
                    </a:lnTo>
                    <a:lnTo>
                      <a:pt x="458" y="583"/>
                    </a:lnTo>
                    <a:lnTo>
                      <a:pt x="459" y="505"/>
                    </a:lnTo>
                    <a:lnTo>
                      <a:pt x="45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131" name="Rectangle 130">
              <a:extLst>
                <a:ext uri="{FF2B5EF4-FFF2-40B4-BE49-F238E27FC236}">
                  <a16:creationId xmlns:a16="http://schemas.microsoft.com/office/drawing/2014/main" id="{7ABB6D1A-2CB4-40F8-A97B-B8BC2C17CEC7}"/>
                </a:ext>
              </a:extLst>
            </p:cNvPr>
            <p:cNvSpPr/>
            <p:nvPr/>
          </p:nvSpPr>
          <p:spPr>
            <a:xfrm>
              <a:off x="2228386" y="6088062"/>
              <a:ext cx="948712" cy="282553"/>
            </a:xfrm>
            <a:prstGeom prst="rect">
              <a:avLst/>
            </a:prstGeom>
          </p:spPr>
          <p:txBody>
            <a:bodyPr wrap="none">
              <a:spAutoFit/>
            </a:bodyPr>
            <a:lstStyle/>
            <a:p>
              <a:pPr marL="0" marR="0" lvl="0" indent="0" algn="ctr" defTabSz="896386"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PHISHING</a:t>
              </a:r>
            </a:p>
          </p:txBody>
        </p:sp>
      </p:grpSp>
      <p:grpSp>
        <p:nvGrpSpPr>
          <p:cNvPr id="4" name="Group 3">
            <a:extLst>
              <a:ext uri="{FF2B5EF4-FFF2-40B4-BE49-F238E27FC236}">
                <a16:creationId xmlns:a16="http://schemas.microsoft.com/office/drawing/2014/main" id="{7F2CE484-B13F-4128-B225-CAA2D0ECB270}"/>
              </a:ext>
            </a:extLst>
          </p:cNvPr>
          <p:cNvGrpSpPr/>
          <p:nvPr/>
        </p:nvGrpSpPr>
        <p:grpSpPr>
          <a:xfrm>
            <a:off x="2050190" y="4803386"/>
            <a:ext cx="1210588" cy="1627149"/>
            <a:chOff x="3496790" y="4899207"/>
            <a:chExt cx="1234863" cy="1659777"/>
          </a:xfrm>
        </p:grpSpPr>
        <p:sp>
          <p:nvSpPr>
            <p:cNvPr id="146" name="Donut 644">
              <a:extLst>
                <a:ext uri="{FF2B5EF4-FFF2-40B4-BE49-F238E27FC236}">
                  <a16:creationId xmlns:a16="http://schemas.microsoft.com/office/drawing/2014/main" id="{517BEEE7-CC27-4625-90E9-13D2F4057418}"/>
                </a:ext>
              </a:extLst>
            </p:cNvPr>
            <p:cNvSpPr/>
            <p:nvPr/>
          </p:nvSpPr>
          <p:spPr>
            <a:xfrm>
              <a:off x="3554157" y="4899207"/>
              <a:ext cx="1120129" cy="1120129"/>
            </a:xfrm>
            <a:prstGeom prst="donut">
              <a:avLst>
                <a:gd name="adj" fmla="val 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48" name="Freeform 6">
              <a:extLst>
                <a:ext uri="{FF2B5EF4-FFF2-40B4-BE49-F238E27FC236}">
                  <a16:creationId xmlns:a16="http://schemas.microsoft.com/office/drawing/2014/main" id="{56FA520F-CA8D-4B4A-A122-01DF0024587F}"/>
                </a:ext>
              </a:extLst>
            </p:cNvPr>
            <p:cNvSpPr>
              <a:spLocks/>
            </p:cNvSpPr>
            <p:nvPr/>
          </p:nvSpPr>
          <p:spPr bwMode="auto">
            <a:xfrm>
              <a:off x="3955918" y="5206382"/>
              <a:ext cx="464687" cy="256972"/>
            </a:xfrm>
            <a:custGeom>
              <a:avLst/>
              <a:gdLst>
                <a:gd name="T0" fmla="*/ 2001 w 5303"/>
                <a:gd name="T1" fmla="*/ 0 h 2931"/>
                <a:gd name="T2" fmla="*/ 3300 w 5303"/>
                <a:gd name="T3" fmla="*/ 0 h 2931"/>
                <a:gd name="T4" fmla="*/ 4054 w 5303"/>
                <a:gd name="T5" fmla="*/ 5 h 2931"/>
                <a:gd name="T6" fmla="*/ 4183 w 5303"/>
                <a:gd name="T7" fmla="*/ 34 h 2931"/>
                <a:gd name="T8" fmla="*/ 4301 w 5303"/>
                <a:gd name="T9" fmla="*/ 90 h 2931"/>
                <a:gd name="T10" fmla="*/ 4402 w 5303"/>
                <a:gd name="T11" fmla="*/ 171 h 2931"/>
                <a:gd name="T12" fmla="*/ 4485 w 5303"/>
                <a:gd name="T13" fmla="*/ 272 h 2931"/>
                <a:gd name="T14" fmla="*/ 5242 w 5303"/>
                <a:gd name="T15" fmla="*/ 1815 h 2931"/>
                <a:gd name="T16" fmla="*/ 5290 w 5303"/>
                <a:gd name="T17" fmla="*/ 1948 h 2931"/>
                <a:gd name="T18" fmla="*/ 5303 w 5303"/>
                <a:gd name="T19" fmla="*/ 2086 h 2931"/>
                <a:gd name="T20" fmla="*/ 5283 w 5303"/>
                <a:gd name="T21" fmla="*/ 2225 h 2931"/>
                <a:gd name="T22" fmla="*/ 5231 w 5303"/>
                <a:gd name="T23" fmla="*/ 2357 h 2931"/>
                <a:gd name="T24" fmla="*/ 5149 w 5303"/>
                <a:gd name="T25" fmla="*/ 2472 h 2931"/>
                <a:gd name="T26" fmla="*/ 5043 w 5303"/>
                <a:gd name="T27" fmla="*/ 2563 h 2931"/>
                <a:gd name="T28" fmla="*/ 4917 w 5303"/>
                <a:gd name="T29" fmla="*/ 2627 h 2931"/>
                <a:gd name="T30" fmla="*/ 4101 w 5303"/>
                <a:gd name="T31" fmla="*/ 1505 h 2931"/>
                <a:gd name="T32" fmla="*/ 4085 w 5303"/>
                <a:gd name="T33" fmla="*/ 1432 h 2931"/>
                <a:gd name="T34" fmla="*/ 4039 w 5303"/>
                <a:gd name="T35" fmla="*/ 1375 h 2931"/>
                <a:gd name="T36" fmla="*/ 3972 w 5303"/>
                <a:gd name="T37" fmla="*/ 1342 h 2931"/>
                <a:gd name="T38" fmla="*/ 1369 w 5303"/>
                <a:gd name="T39" fmla="*/ 1339 h 2931"/>
                <a:gd name="T40" fmla="*/ 1295 w 5303"/>
                <a:gd name="T41" fmla="*/ 1355 h 2931"/>
                <a:gd name="T42" fmla="*/ 1238 w 5303"/>
                <a:gd name="T43" fmla="*/ 1401 h 2931"/>
                <a:gd name="T44" fmla="*/ 1205 w 5303"/>
                <a:gd name="T45" fmla="*/ 1468 h 2931"/>
                <a:gd name="T46" fmla="*/ 1200 w 5303"/>
                <a:gd name="T47" fmla="*/ 2931 h 2931"/>
                <a:gd name="T48" fmla="*/ 319 w 5303"/>
                <a:gd name="T49" fmla="*/ 2599 h 2931"/>
                <a:gd name="T50" fmla="*/ 203 w 5303"/>
                <a:gd name="T51" fmla="*/ 2521 h 2931"/>
                <a:gd name="T52" fmla="*/ 110 w 5303"/>
                <a:gd name="T53" fmla="*/ 2416 h 2931"/>
                <a:gd name="T54" fmla="*/ 41 w 5303"/>
                <a:gd name="T55" fmla="*/ 2294 h 2931"/>
                <a:gd name="T56" fmla="*/ 5 w 5303"/>
                <a:gd name="T57" fmla="*/ 2157 h 2931"/>
                <a:gd name="T58" fmla="*/ 2 w 5303"/>
                <a:gd name="T59" fmla="*/ 2018 h 2931"/>
                <a:gd name="T60" fmla="*/ 31 w 5303"/>
                <a:gd name="T61" fmla="*/ 1881 h 2931"/>
                <a:gd name="T62" fmla="*/ 783 w 5303"/>
                <a:gd name="T63" fmla="*/ 331 h 2931"/>
                <a:gd name="T64" fmla="*/ 855 w 5303"/>
                <a:gd name="T65" fmla="*/ 219 h 2931"/>
                <a:gd name="T66" fmla="*/ 948 w 5303"/>
                <a:gd name="T67" fmla="*/ 127 h 2931"/>
                <a:gd name="T68" fmla="*/ 1060 w 5303"/>
                <a:gd name="T69" fmla="*/ 59 h 2931"/>
                <a:gd name="T70" fmla="*/ 1182 w 5303"/>
                <a:gd name="T71" fmla="*/ 14 h 2931"/>
                <a:gd name="T72" fmla="*/ 1315 w 5303"/>
                <a:gd name="T73" fmla="*/ 0 h 2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03" h="2931">
                  <a:moveTo>
                    <a:pt x="1315" y="0"/>
                  </a:moveTo>
                  <a:lnTo>
                    <a:pt x="2001" y="0"/>
                  </a:lnTo>
                  <a:lnTo>
                    <a:pt x="2651" y="749"/>
                  </a:lnTo>
                  <a:lnTo>
                    <a:pt x="3300" y="0"/>
                  </a:lnTo>
                  <a:lnTo>
                    <a:pt x="3987" y="0"/>
                  </a:lnTo>
                  <a:lnTo>
                    <a:pt x="4054" y="5"/>
                  </a:lnTo>
                  <a:lnTo>
                    <a:pt x="4119" y="14"/>
                  </a:lnTo>
                  <a:lnTo>
                    <a:pt x="4183" y="34"/>
                  </a:lnTo>
                  <a:lnTo>
                    <a:pt x="4243" y="59"/>
                  </a:lnTo>
                  <a:lnTo>
                    <a:pt x="4301" y="90"/>
                  </a:lnTo>
                  <a:lnTo>
                    <a:pt x="4353" y="127"/>
                  </a:lnTo>
                  <a:lnTo>
                    <a:pt x="4402" y="171"/>
                  </a:lnTo>
                  <a:lnTo>
                    <a:pt x="4446" y="220"/>
                  </a:lnTo>
                  <a:lnTo>
                    <a:pt x="4485" y="272"/>
                  </a:lnTo>
                  <a:lnTo>
                    <a:pt x="4518" y="331"/>
                  </a:lnTo>
                  <a:lnTo>
                    <a:pt x="5242" y="1815"/>
                  </a:lnTo>
                  <a:lnTo>
                    <a:pt x="5270" y="1881"/>
                  </a:lnTo>
                  <a:lnTo>
                    <a:pt x="5290" y="1948"/>
                  </a:lnTo>
                  <a:lnTo>
                    <a:pt x="5300" y="2018"/>
                  </a:lnTo>
                  <a:lnTo>
                    <a:pt x="5303" y="2086"/>
                  </a:lnTo>
                  <a:lnTo>
                    <a:pt x="5296" y="2157"/>
                  </a:lnTo>
                  <a:lnTo>
                    <a:pt x="5283" y="2225"/>
                  </a:lnTo>
                  <a:lnTo>
                    <a:pt x="5260" y="2294"/>
                  </a:lnTo>
                  <a:lnTo>
                    <a:pt x="5231" y="2357"/>
                  </a:lnTo>
                  <a:lnTo>
                    <a:pt x="5193" y="2416"/>
                  </a:lnTo>
                  <a:lnTo>
                    <a:pt x="5149" y="2472"/>
                  </a:lnTo>
                  <a:lnTo>
                    <a:pt x="5099" y="2521"/>
                  </a:lnTo>
                  <a:lnTo>
                    <a:pt x="5043" y="2563"/>
                  </a:lnTo>
                  <a:lnTo>
                    <a:pt x="4982" y="2599"/>
                  </a:lnTo>
                  <a:lnTo>
                    <a:pt x="4917" y="2627"/>
                  </a:lnTo>
                  <a:lnTo>
                    <a:pt x="4101" y="2931"/>
                  </a:lnTo>
                  <a:lnTo>
                    <a:pt x="4101" y="1505"/>
                  </a:lnTo>
                  <a:lnTo>
                    <a:pt x="4096" y="1468"/>
                  </a:lnTo>
                  <a:lnTo>
                    <a:pt x="4085" y="1432"/>
                  </a:lnTo>
                  <a:lnTo>
                    <a:pt x="4063" y="1401"/>
                  </a:lnTo>
                  <a:lnTo>
                    <a:pt x="4039" y="1375"/>
                  </a:lnTo>
                  <a:lnTo>
                    <a:pt x="4008" y="1355"/>
                  </a:lnTo>
                  <a:lnTo>
                    <a:pt x="3972" y="1342"/>
                  </a:lnTo>
                  <a:lnTo>
                    <a:pt x="3934" y="1339"/>
                  </a:lnTo>
                  <a:lnTo>
                    <a:pt x="1369" y="1339"/>
                  </a:lnTo>
                  <a:lnTo>
                    <a:pt x="1329" y="1342"/>
                  </a:lnTo>
                  <a:lnTo>
                    <a:pt x="1295" y="1355"/>
                  </a:lnTo>
                  <a:lnTo>
                    <a:pt x="1264" y="1375"/>
                  </a:lnTo>
                  <a:lnTo>
                    <a:pt x="1238" y="1401"/>
                  </a:lnTo>
                  <a:lnTo>
                    <a:pt x="1218" y="1432"/>
                  </a:lnTo>
                  <a:lnTo>
                    <a:pt x="1205" y="1468"/>
                  </a:lnTo>
                  <a:lnTo>
                    <a:pt x="1200" y="1505"/>
                  </a:lnTo>
                  <a:lnTo>
                    <a:pt x="1200" y="2931"/>
                  </a:lnTo>
                  <a:lnTo>
                    <a:pt x="384" y="2627"/>
                  </a:lnTo>
                  <a:lnTo>
                    <a:pt x="319" y="2599"/>
                  </a:lnTo>
                  <a:lnTo>
                    <a:pt x="258" y="2563"/>
                  </a:lnTo>
                  <a:lnTo>
                    <a:pt x="203" y="2521"/>
                  </a:lnTo>
                  <a:lnTo>
                    <a:pt x="154" y="2472"/>
                  </a:lnTo>
                  <a:lnTo>
                    <a:pt x="110" y="2416"/>
                  </a:lnTo>
                  <a:lnTo>
                    <a:pt x="72" y="2357"/>
                  </a:lnTo>
                  <a:lnTo>
                    <a:pt x="41" y="2294"/>
                  </a:lnTo>
                  <a:lnTo>
                    <a:pt x="20" y="2225"/>
                  </a:lnTo>
                  <a:lnTo>
                    <a:pt x="5" y="2157"/>
                  </a:lnTo>
                  <a:lnTo>
                    <a:pt x="0" y="2086"/>
                  </a:lnTo>
                  <a:lnTo>
                    <a:pt x="2" y="2018"/>
                  </a:lnTo>
                  <a:lnTo>
                    <a:pt x="13" y="1948"/>
                  </a:lnTo>
                  <a:lnTo>
                    <a:pt x="31" y="1881"/>
                  </a:lnTo>
                  <a:lnTo>
                    <a:pt x="59" y="1815"/>
                  </a:lnTo>
                  <a:lnTo>
                    <a:pt x="783" y="331"/>
                  </a:lnTo>
                  <a:lnTo>
                    <a:pt x="816" y="272"/>
                  </a:lnTo>
                  <a:lnTo>
                    <a:pt x="855" y="219"/>
                  </a:lnTo>
                  <a:lnTo>
                    <a:pt x="899" y="171"/>
                  </a:lnTo>
                  <a:lnTo>
                    <a:pt x="948" y="127"/>
                  </a:lnTo>
                  <a:lnTo>
                    <a:pt x="1002" y="90"/>
                  </a:lnTo>
                  <a:lnTo>
                    <a:pt x="1060" y="59"/>
                  </a:lnTo>
                  <a:lnTo>
                    <a:pt x="1120" y="34"/>
                  </a:lnTo>
                  <a:lnTo>
                    <a:pt x="1182" y="14"/>
                  </a:lnTo>
                  <a:lnTo>
                    <a:pt x="1248" y="5"/>
                  </a:lnTo>
                  <a:lnTo>
                    <a:pt x="1315"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49" name="Freeform 8">
              <a:extLst>
                <a:ext uri="{FF2B5EF4-FFF2-40B4-BE49-F238E27FC236}">
                  <a16:creationId xmlns:a16="http://schemas.microsoft.com/office/drawing/2014/main" id="{96047031-A683-4479-8A09-4BBC4A48F19A}"/>
                </a:ext>
              </a:extLst>
            </p:cNvPr>
            <p:cNvSpPr>
              <a:spLocks/>
            </p:cNvSpPr>
            <p:nvPr/>
          </p:nvSpPr>
          <p:spPr bwMode="auto">
            <a:xfrm>
              <a:off x="4102633" y="5023031"/>
              <a:ext cx="171081" cy="170905"/>
            </a:xfrm>
            <a:custGeom>
              <a:avLst/>
              <a:gdLst>
                <a:gd name="T0" fmla="*/ 1076 w 1953"/>
                <a:gd name="T1" fmla="*/ 5 h 1949"/>
                <a:gd name="T2" fmla="*/ 1268 w 1953"/>
                <a:gd name="T3" fmla="*/ 44 h 1949"/>
                <a:gd name="T4" fmla="*/ 1443 w 1953"/>
                <a:gd name="T5" fmla="*/ 117 h 1949"/>
                <a:gd name="T6" fmla="*/ 1598 w 1953"/>
                <a:gd name="T7" fmla="*/ 222 h 1949"/>
                <a:gd name="T8" fmla="*/ 1730 w 1953"/>
                <a:gd name="T9" fmla="*/ 354 h 1949"/>
                <a:gd name="T10" fmla="*/ 1835 w 1953"/>
                <a:gd name="T11" fmla="*/ 509 h 1949"/>
                <a:gd name="T12" fmla="*/ 1909 w 1953"/>
                <a:gd name="T13" fmla="*/ 684 h 1949"/>
                <a:gd name="T14" fmla="*/ 1948 w 1953"/>
                <a:gd name="T15" fmla="*/ 875 h 1949"/>
                <a:gd name="T16" fmla="*/ 1948 w 1953"/>
                <a:gd name="T17" fmla="*/ 1069 h 1949"/>
                <a:gd name="T18" fmla="*/ 1912 w 1953"/>
                <a:gd name="T19" fmla="*/ 1252 h 1949"/>
                <a:gd name="T20" fmla="*/ 1843 w 1953"/>
                <a:gd name="T21" fmla="*/ 1418 h 1949"/>
                <a:gd name="T22" fmla="*/ 1747 w 1953"/>
                <a:gd name="T23" fmla="*/ 1569 h 1949"/>
                <a:gd name="T24" fmla="*/ 1624 w 1953"/>
                <a:gd name="T25" fmla="*/ 1698 h 1949"/>
                <a:gd name="T26" fmla="*/ 1484 w 1953"/>
                <a:gd name="T27" fmla="*/ 1804 h 1949"/>
                <a:gd name="T28" fmla="*/ 1325 w 1953"/>
                <a:gd name="T29" fmla="*/ 1882 h 1949"/>
                <a:gd name="T30" fmla="*/ 1155 w 1953"/>
                <a:gd name="T31" fmla="*/ 1931 h 1949"/>
                <a:gd name="T32" fmla="*/ 977 w 1953"/>
                <a:gd name="T33" fmla="*/ 1949 h 1949"/>
                <a:gd name="T34" fmla="*/ 798 w 1953"/>
                <a:gd name="T35" fmla="*/ 1931 h 1949"/>
                <a:gd name="T36" fmla="*/ 628 w 1953"/>
                <a:gd name="T37" fmla="*/ 1882 h 1949"/>
                <a:gd name="T38" fmla="*/ 471 w 1953"/>
                <a:gd name="T39" fmla="*/ 1804 h 1949"/>
                <a:gd name="T40" fmla="*/ 329 w 1953"/>
                <a:gd name="T41" fmla="*/ 1698 h 1949"/>
                <a:gd name="T42" fmla="*/ 208 w 1953"/>
                <a:gd name="T43" fmla="*/ 1569 h 1949"/>
                <a:gd name="T44" fmla="*/ 110 w 1953"/>
                <a:gd name="T45" fmla="*/ 1418 h 1949"/>
                <a:gd name="T46" fmla="*/ 41 w 1953"/>
                <a:gd name="T47" fmla="*/ 1252 h 1949"/>
                <a:gd name="T48" fmla="*/ 5 w 1953"/>
                <a:gd name="T49" fmla="*/ 1069 h 1949"/>
                <a:gd name="T50" fmla="*/ 5 w 1953"/>
                <a:gd name="T51" fmla="*/ 875 h 1949"/>
                <a:gd name="T52" fmla="*/ 45 w 1953"/>
                <a:gd name="T53" fmla="*/ 684 h 1949"/>
                <a:gd name="T54" fmla="*/ 118 w 1953"/>
                <a:gd name="T55" fmla="*/ 509 h 1949"/>
                <a:gd name="T56" fmla="*/ 224 w 1953"/>
                <a:gd name="T57" fmla="*/ 354 h 1949"/>
                <a:gd name="T58" fmla="*/ 355 w 1953"/>
                <a:gd name="T59" fmla="*/ 222 h 1949"/>
                <a:gd name="T60" fmla="*/ 512 w 1953"/>
                <a:gd name="T61" fmla="*/ 117 h 1949"/>
                <a:gd name="T62" fmla="*/ 687 w 1953"/>
                <a:gd name="T63" fmla="*/ 44 h 1949"/>
                <a:gd name="T64" fmla="*/ 877 w 1953"/>
                <a:gd name="T65" fmla="*/ 5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3" h="1949">
                  <a:moveTo>
                    <a:pt x="977" y="0"/>
                  </a:moveTo>
                  <a:lnTo>
                    <a:pt x="1076" y="5"/>
                  </a:lnTo>
                  <a:lnTo>
                    <a:pt x="1173" y="19"/>
                  </a:lnTo>
                  <a:lnTo>
                    <a:pt x="1268" y="44"/>
                  </a:lnTo>
                  <a:lnTo>
                    <a:pt x="1358" y="76"/>
                  </a:lnTo>
                  <a:lnTo>
                    <a:pt x="1443" y="117"/>
                  </a:lnTo>
                  <a:lnTo>
                    <a:pt x="1523" y="166"/>
                  </a:lnTo>
                  <a:lnTo>
                    <a:pt x="1598" y="222"/>
                  </a:lnTo>
                  <a:lnTo>
                    <a:pt x="1667" y="285"/>
                  </a:lnTo>
                  <a:lnTo>
                    <a:pt x="1730" y="354"/>
                  </a:lnTo>
                  <a:lnTo>
                    <a:pt x="1786" y="429"/>
                  </a:lnTo>
                  <a:lnTo>
                    <a:pt x="1835" y="509"/>
                  </a:lnTo>
                  <a:lnTo>
                    <a:pt x="1876" y="594"/>
                  </a:lnTo>
                  <a:lnTo>
                    <a:pt x="1909" y="684"/>
                  </a:lnTo>
                  <a:lnTo>
                    <a:pt x="1933" y="777"/>
                  </a:lnTo>
                  <a:lnTo>
                    <a:pt x="1948" y="875"/>
                  </a:lnTo>
                  <a:lnTo>
                    <a:pt x="1953" y="974"/>
                  </a:lnTo>
                  <a:lnTo>
                    <a:pt x="1948" y="1069"/>
                  </a:lnTo>
                  <a:lnTo>
                    <a:pt x="1935" y="1162"/>
                  </a:lnTo>
                  <a:lnTo>
                    <a:pt x="1912" y="1252"/>
                  </a:lnTo>
                  <a:lnTo>
                    <a:pt x="1881" y="1337"/>
                  </a:lnTo>
                  <a:lnTo>
                    <a:pt x="1843" y="1418"/>
                  </a:lnTo>
                  <a:lnTo>
                    <a:pt x="1798" y="1497"/>
                  </a:lnTo>
                  <a:lnTo>
                    <a:pt x="1747" y="1569"/>
                  </a:lnTo>
                  <a:lnTo>
                    <a:pt x="1688" y="1636"/>
                  </a:lnTo>
                  <a:lnTo>
                    <a:pt x="1624" y="1698"/>
                  </a:lnTo>
                  <a:lnTo>
                    <a:pt x="1555" y="1753"/>
                  </a:lnTo>
                  <a:lnTo>
                    <a:pt x="1484" y="1804"/>
                  </a:lnTo>
                  <a:lnTo>
                    <a:pt x="1407" y="1846"/>
                  </a:lnTo>
                  <a:lnTo>
                    <a:pt x="1325" y="1882"/>
                  </a:lnTo>
                  <a:lnTo>
                    <a:pt x="1242" y="1910"/>
                  </a:lnTo>
                  <a:lnTo>
                    <a:pt x="1155" y="1931"/>
                  </a:lnTo>
                  <a:lnTo>
                    <a:pt x="1067" y="1944"/>
                  </a:lnTo>
                  <a:lnTo>
                    <a:pt x="977" y="1949"/>
                  </a:lnTo>
                  <a:lnTo>
                    <a:pt x="887" y="1944"/>
                  </a:lnTo>
                  <a:lnTo>
                    <a:pt x="798" y="1931"/>
                  </a:lnTo>
                  <a:lnTo>
                    <a:pt x="712" y="1910"/>
                  </a:lnTo>
                  <a:lnTo>
                    <a:pt x="628" y="1882"/>
                  </a:lnTo>
                  <a:lnTo>
                    <a:pt x="548" y="1846"/>
                  </a:lnTo>
                  <a:lnTo>
                    <a:pt x="471" y="1804"/>
                  </a:lnTo>
                  <a:lnTo>
                    <a:pt x="398" y="1753"/>
                  </a:lnTo>
                  <a:lnTo>
                    <a:pt x="329" y="1698"/>
                  </a:lnTo>
                  <a:lnTo>
                    <a:pt x="265" y="1636"/>
                  </a:lnTo>
                  <a:lnTo>
                    <a:pt x="208" y="1569"/>
                  </a:lnTo>
                  <a:lnTo>
                    <a:pt x="156" y="1497"/>
                  </a:lnTo>
                  <a:lnTo>
                    <a:pt x="110" y="1418"/>
                  </a:lnTo>
                  <a:lnTo>
                    <a:pt x="72" y="1337"/>
                  </a:lnTo>
                  <a:lnTo>
                    <a:pt x="41" y="1252"/>
                  </a:lnTo>
                  <a:lnTo>
                    <a:pt x="20" y="1162"/>
                  </a:lnTo>
                  <a:lnTo>
                    <a:pt x="5" y="1069"/>
                  </a:lnTo>
                  <a:lnTo>
                    <a:pt x="0" y="974"/>
                  </a:lnTo>
                  <a:lnTo>
                    <a:pt x="5" y="875"/>
                  </a:lnTo>
                  <a:lnTo>
                    <a:pt x="20" y="777"/>
                  </a:lnTo>
                  <a:lnTo>
                    <a:pt x="45" y="684"/>
                  </a:lnTo>
                  <a:lnTo>
                    <a:pt x="77" y="594"/>
                  </a:lnTo>
                  <a:lnTo>
                    <a:pt x="118" y="509"/>
                  </a:lnTo>
                  <a:lnTo>
                    <a:pt x="167" y="429"/>
                  </a:lnTo>
                  <a:lnTo>
                    <a:pt x="224" y="354"/>
                  </a:lnTo>
                  <a:lnTo>
                    <a:pt x="287" y="285"/>
                  </a:lnTo>
                  <a:lnTo>
                    <a:pt x="355" y="222"/>
                  </a:lnTo>
                  <a:lnTo>
                    <a:pt x="430" y="166"/>
                  </a:lnTo>
                  <a:lnTo>
                    <a:pt x="512" y="117"/>
                  </a:lnTo>
                  <a:lnTo>
                    <a:pt x="597" y="76"/>
                  </a:lnTo>
                  <a:lnTo>
                    <a:pt x="687" y="44"/>
                  </a:lnTo>
                  <a:lnTo>
                    <a:pt x="780" y="19"/>
                  </a:lnTo>
                  <a:lnTo>
                    <a:pt x="877" y="5"/>
                  </a:lnTo>
                  <a:lnTo>
                    <a:pt x="977"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50" name="Freeform 9">
              <a:extLst>
                <a:ext uri="{FF2B5EF4-FFF2-40B4-BE49-F238E27FC236}">
                  <a16:creationId xmlns:a16="http://schemas.microsoft.com/office/drawing/2014/main" id="{4B37D4EC-CD90-4103-B3EF-7C86C1A70C27}"/>
                </a:ext>
              </a:extLst>
            </p:cNvPr>
            <p:cNvSpPr>
              <a:spLocks noChangeAspect="1" noEditPoints="1"/>
            </p:cNvSpPr>
            <p:nvPr/>
          </p:nvSpPr>
          <p:spPr bwMode="black">
            <a:xfrm rot="20730998">
              <a:off x="3794067" y="5410970"/>
              <a:ext cx="540937" cy="438608"/>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50F2DA71-3D65-4671-8C5E-843886086714}"/>
                </a:ext>
              </a:extLst>
            </p:cNvPr>
            <p:cNvSpPr/>
            <p:nvPr/>
          </p:nvSpPr>
          <p:spPr>
            <a:xfrm>
              <a:off x="3496790" y="6088062"/>
              <a:ext cx="1234863" cy="470922"/>
            </a:xfrm>
            <a:prstGeom prst="rect">
              <a:avLst/>
            </a:prstGeom>
          </p:spPr>
          <p:txBody>
            <a:bodyPr wrap="none">
              <a:spAutoFit/>
            </a:bodyPr>
            <a:lstStyle/>
            <a:p>
              <a:pPr marL="0" marR="0" lvl="0" indent="0" algn="ctr" defTabSz="896386"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SOCIAL </a:t>
              </a:r>
              <a:b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ENGINEERING</a:t>
              </a:r>
            </a:p>
          </p:txBody>
        </p:sp>
      </p:grpSp>
      <p:grpSp>
        <p:nvGrpSpPr>
          <p:cNvPr id="9" name="Group 8">
            <a:extLst>
              <a:ext uri="{FF2B5EF4-FFF2-40B4-BE49-F238E27FC236}">
                <a16:creationId xmlns:a16="http://schemas.microsoft.com/office/drawing/2014/main" id="{22E89DF6-288B-4EEC-ADD3-8D2936906A13}"/>
              </a:ext>
            </a:extLst>
          </p:cNvPr>
          <p:cNvGrpSpPr/>
          <p:nvPr/>
        </p:nvGrpSpPr>
        <p:grpSpPr>
          <a:xfrm>
            <a:off x="4868024" y="4803386"/>
            <a:ext cx="1098110" cy="1627149"/>
            <a:chOff x="4965637" y="4899207"/>
            <a:chExt cx="1120129" cy="1659777"/>
          </a:xfrm>
        </p:grpSpPr>
        <p:sp>
          <p:nvSpPr>
            <p:cNvPr id="156" name="Donut 49">
              <a:extLst>
                <a:ext uri="{FF2B5EF4-FFF2-40B4-BE49-F238E27FC236}">
                  <a16:creationId xmlns:a16="http://schemas.microsoft.com/office/drawing/2014/main" id="{B60DDEC8-C118-4C79-8BC5-71F631014126}"/>
                </a:ext>
              </a:extLst>
            </p:cNvPr>
            <p:cNvSpPr/>
            <p:nvPr/>
          </p:nvSpPr>
          <p:spPr>
            <a:xfrm>
              <a:off x="4965637" y="4899207"/>
              <a:ext cx="1120129" cy="1120129"/>
            </a:xfrm>
            <a:prstGeom prst="donut">
              <a:avLst>
                <a:gd name="adj" fmla="val 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57" name="Freeform 6">
              <a:extLst>
                <a:ext uri="{FF2B5EF4-FFF2-40B4-BE49-F238E27FC236}">
                  <a16:creationId xmlns:a16="http://schemas.microsoft.com/office/drawing/2014/main" id="{16F10DA3-E112-4D59-A2E1-34AD71D969F5}"/>
                </a:ext>
              </a:extLst>
            </p:cNvPr>
            <p:cNvSpPr>
              <a:spLocks noEditPoints="1"/>
            </p:cNvSpPr>
            <p:nvPr/>
          </p:nvSpPr>
          <p:spPr bwMode="auto">
            <a:xfrm>
              <a:off x="5084974" y="5270285"/>
              <a:ext cx="887513" cy="399875"/>
            </a:xfrm>
            <a:custGeom>
              <a:avLst/>
              <a:gdLst>
                <a:gd name="T0" fmla="*/ 3282 w 4853"/>
                <a:gd name="T1" fmla="*/ 757 h 2187"/>
                <a:gd name="T2" fmla="*/ 3013 w 4853"/>
                <a:gd name="T3" fmla="*/ 988 h 2187"/>
                <a:gd name="T4" fmla="*/ 2870 w 4853"/>
                <a:gd name="T5" fmla="*/ 1165 h 2187"/>
                <a:gd name="T6" fmla="*/ 2895 w 4853"/>
                <a:gd name="T7" fmla="*/ 1252 h 2187"/>
                <a:gd name="T8" fmla="*/ 3088 w 4853"/>
                <a:gd name="T9" fmla="*/ 1351 h 2187"/>
                <a:gd name="T10" fmla="*/ 3500 w 4853"/>
                <a:gd name="T11" fmla="*/ 1387 h 2187"/>
                <a:gd name="T12" fmla="*/ 3844 w 4853"/>
                <a:gd name="T13" fmla="*/ 1296 h 2187"/>
                <a:gd name="T14" fmla="*/ 4091 w 4853"/>
                <a:gd name="T15" fmla="*/ 1172 h 2187"/>
                <a:gd name="T16" fmla="*/ 4209 w 4853"/>
                <a:gd name="T17" fmla="*/ 1045 h 2187"/>
                <a:gd name="T18" fmla="*/ 4199 w 4853"/>
                <a:gd name="T19" fmla="*/ 945 h 2187"/>
                <a:gd name="T20" fmla="*/ 4087 w 4853"/>
                <a:gd name="T21" fmla="*/ 788 h 2187"/>
                <a:gd name="T22" fmla="*/ 3782 w 4853"/>
                <a:gd name="T23" fmla="*/ 687 h 2187"/>
                <a:gd name="T24" fmla="*/ 962 w 4853"/>
                <a:gd name="T25" fmla="*/ 697 h 2187"/>
                <a:gd name="T26" fmla="*/ 710 w 4853"/>
                <a:gd name="T27" fmla="*/ 814 h 2187"/>
                <a:gd name="T28" fmla="*/ 620 w 4853"/>
                <a:gd name="T29" fmla="*/ 970 h 2187"/>
                <a:gd name="T30" fmla="*/ 628 w 4853"/>
                <a:gd name="T31" fmla="*/ 1060 h 2187"/>
                <a:gd name="T32" fmla="*/ 769 w 4853"/>
                <a:gd name="T33" fmla="*/ 1196 h 2187"/>
                <a:gd name="T34" fmla="*/ 1031 w 4853"/>
                <a:gd name="T35" fmla="*/ 1316 h 2187"/>
                <a:gd name="T36" fmla="*/ 1392 w 4853"/>
                <a:gd name="T37" fmla="*/ 1392 h 2187"/>
                <a:gd name="T38" fmla="*/ 1781 w 4853"/>
                <a:gd name="T39" fmla="*/ 1336 h 2187"/>
                <a:gd name="T40" fmla="*/ 1939 w 4853"/>
                <a:gd name="T41" fmla="*/ 1236 h 2187"/>
                <a:gd name="T42" fmla="*/ 1939 w 4853"/>
                <a:gd name="T43" fmla="*/ 1143 h 2187"/>
                <a:gd name="T44" fmla="*/ 1772 w 4853"/>
                <a:gd name="T45" fmla="*/ 948 h 2187"/>
                <a:gd name="T46" fmla="*/ 1481 w 4853"/>
                <a:gd name="T47" fmla="*/ 731 h 2187"/>
                <a:gd name="T48" fmla="*/ 1177 w 4853"/>
                <a:gd name="T49" fmla="*/ 1 h 2187"/>
                <a:gd name="T50" fmla="*/ 1595 w 4853"/>
                <a:gd name="T51" fmla="*/ 32 h 2187"/>
                <a:gd name="T52" fmla="*/ 2034 w 4853"/>
                <a:gd name="T53" fmla="*/ 83 h 2187"/>
                <a:gd name="T54" fmla="*/ 2350 w 4853"/>
                <a:gd name="T55" fmla="*/ 127 h 2187"/>
                <a:gd name="T56" fmla="*/ 2440 w 4853"/>
                <a:gd name="T57" fmla="*/ 134 h 2187"/>
                <a:gd name="T58" fmla="*/ 2678 w 4853"/>
                <a:gd name="T59" fmla="*/ 99 h 2187"/>
                <a:gd name="T60" fmla="*/ 3083 w 4853"/>
                <a:gd name="T61" fmla="*/ 47 h 2187"/>
                <a:gd name="T62" fmla="*/ 3525 w 4853"/>
                <a:gd name="T63" fmla="*/ 6 h 2187"/>
                <a:gd name="T64" fmla="*/ 3933 w 4853"/>
                <a:gd name="T65" fmla="*/ 9 h 2187"/>
                <a:gd name="T66" fmla="*/ 4344 w 4853"/>
                <a:gd name="T67" fmla="*/ 63 h 2187"/>
                <a:gd name="T68" fmla="*/ 4630 w 4853"/>
                <a:gd name="T69" fmla="*/ 122 h 2187"/>
                <a:gd name="T70" fmla="*/ 4764 w 4853"/>
                <a:gd name="T71" fmla="*/ 153 h 2187"/>
                <a:gd name="T72" fmla="*/ 4853 w 4853"/>
                <a:gd name="T73" fmla="*/ 1627 h 2187"/>
                <a:gd name="T74" fmla="*/ 4745 w 4853"/>
                <a:gd name="T75" fmla="*/ 1768 h 2187"/>
                <a:gd name="T76" fmla="*/ 4458 w 4853"/>
                <a:gd name="T77" fmla="*/ 1977 h 2187"/>
                <a:gd name="T78" fmla="*/ 4050 w 4853"/>
                <a:gd name="T79" fmla="*/ 2149 h 2187"/>
                <a:gd name="T80" fmla="*/ 3555 w 4853"/>
                <a:gd name="T81" fmla="*/ 2168 h 2187"/>
                <a:gd name="T82" fmla="*/ 3075 w 4853"/>
                <a:gd name="T83" fmla="*/ 1971 h 2187"/>
                <a:gd name="T84" fmla="*/ 2687 w 4853"/>
                <a:gd name="T85" fmla="*/ 1725 h 2187"/>
                <a:gd name="T86" fmla="*/ 2388 w 4853"/>
                <a:gd name="T87" fmla="*/ 1629 h 2187"/>
                <a:gd name="T88" fmla="*/ 2146 w 4853"/>
                <a:gd name="T89" fmla="*/ 1748 h 2187"/>
                <a:gd name="T90" fmla="*/ 1861 w 4853"/>
                <a:gd name="T91" fmla="*/ 1963 h 2187"/>
                <a:gd name="T92" fmla="*/ 1489 w 4853"/>
                <a:gd name="T93" fmla="*/ 2144 h 2187"/>
                <a:gd name="T94" fmla="*/ 963 w 4853"/>
                <a:gd name="T95" fmla="*/ 2171 h 2187"/>
                <a:gd name="T96" fmla="*/ 433 w 4853"/>
                <a:gd name="T97" fmla="*/ 2010 h 2187"/>
                <a:gd name="T98" fmla="*/ 97 w 4853"/>
                <a:gd name="T99" fmla="*/ 1769 h 2187"/>
                <a:gd name="T100" fmla="*/ 4 w 4853"/>
                <a:gd name="T101" fmla="*/ 260 h 2187"/>
                <a:gd name="T102" fmla="*/ 158 w 4853"/>
                <a:gd name="T103" fmla="*/ 137 h 2187"/>
                <a:gd name="T104" fmla="*/ 303 w 4853"/>
                <a:gd name="T105" fmla="*/ 103 h 2187"/>
                <a:gd name="T106" fmla="*/ 650 w 4853"/>
                <a:gd name="T107" fmla="*/ 40 h 2187"/>
                <a:gd name="T108" fmla="*/ 1065 w 4853"/>
                <a:gd name="T109" fmla="*/ 0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53" h="2187">
                  <a:moveTo>
                    <a:pt x="3624" y="679"/>
                  </a:moveTo>
                  <a:lnTo>
                    <a:pt x="3549" y="685"/>
                  </a:lnTo>
                  <a:lnTo>
                    <a:pt x="3477" y="695"/>
                  </a:lnTo>
                  <a:lnTo>
                    <a:pt x="3407" y="710"/>
                  </a:lnTo>
                  <a:lnTo>
                    <a:pt x="3343" y="731"/>
                  </a:lnTo>
                  <a:lnTo>
                    <a:pt x="3282" y="757"/>
                  </a:lnTo>
                  <a:lnTo>
                    <a:pt x="3226" y="788"/>
                  </a:lnTo>
                  <a:lnTo>
                    <a:pt x="3175" y="824"/>
                  </a:lnTo>
                  <a:lnTo>
                    <a:pt x="3129" y="865"/>
                  </a:lnTo>
                  <a:lnTo>
                    <a:pt x="3088" y="908"/>
                  </a:lnTo>
                  <a:lnTo>
                    <a:pt x="3049" y="948"/>
                  </a:lnTo>
                  <a:lnTo>
                    <a:pt x="3013" y="988"/>
                  </a:lnTo>
                  <a:lnTo>
                    <a:pt x="2979" y="1025"/>
                  </a:lnTo>
                  <a:lnTo>
                    <a:pt x="2948" y="1059"/>
                  </a:lnTo>
                  <a:lnTo>
                    <a:pt x="2921" y="1090"/>
                  </a:lnTo>
                  <a:lnTo>
                    <a:pt x="2899" y="1118"/>
                  </a:lnTo>
                  <a:lnTo>
                    <a:pt x="2882" y="1143"/>
                  </a:lnTo>
                  <a:lnTo>
                    <a:pt x="2870" y="1165"/>
                  </a:lnTo>
                  <a:lnTo>
                    <a:pt x="2862" y="1183"/>
                  </a:lnTo>
                  <a:lnTo>
                    <a:pt x="2862" y="1196"/>
                  </a:lnTo>
                  <a:lnTo>
                    <a:pt x="2865" y="1208"/>
                  </a:lnTo>
                  <a:lnTo>
                    <a:pt x="2871" y="1221"/>
                  </a:lnTo>
                  <a:lnTo>
                    <a:pt x="2882" y="1236"/>
                  </a:lnTo>
                  <a:lnTo>
                    <a:pt x="2895" y="1252"/>
                  </a:lnTo>
                  <a:lnTo>
                    <a:pt x="2912" y="1268"/>
                  </a:lnTo>
                  <a:lnTo>
                    <a:pt x="2936" y="1286"/>
                  </a:lnTo>
                  <a:lnTo>
                    <a:pt x="2964" y="1302"/>
                  </a:lnTo>
                  <a:lnTo>
                    <a:pt x="2999" y="1320"/>
                  </a:lnTo>
                  <a:lnTo>
                    <a:pt x="3039" y="1336"/>
                  </a:lnTo>
                  <a:lnTo>
                    <a:pt x="3088" y="1351"/>
                  </a:lnTo>
                  <a:lnTo>
                    <a:pt x="3142" y="1364"/>
                  </a:lnTo>
                  <a:lnTo>
                    <a:pt x="3206" y="1376"/>
                  </a:lnTo>
                  <a:lnTo>
                    <a:pt x="3276" y="1387"/>
                  </a:lnTo>
                  <a:lnTo>
                    <a:pt x="3356" y="1391"/>
                  </a:lnTo>
                  <a:lnTo>
                    <a:pt x="3431" y="1392"/>
                  </a:lnTo>
                  <a:lnTo>
                    <a:pt x="3500" y="1387"/>
                  </a:lnTo>
                  <a:lnTo>
                    <a:pt x="3567" y="1379"/>
                  </a:lnTo>
                  <a:lnTo>
                    <a:pt x="3628" y="1366"/>
                  </a:lnTo>
                  <a:lnTo>
                    <a:pt x="3687" y="1351"/>
                  </a:lnTo>
                  <a:lnTo>
                    <a:pt x="3742" y="1335"/>
                  </a:lnTo>
                  <a:lnTo>
                    <a:pt x="3795" y="1316"/>
                  </a:lnTo>
                  <a:lnTo>
                    <a:pt x="3844" y="1296"/>
                  </a:lnTo>
                  <a:lnTo>
                    <a:pt x="3889" y="1277"/>
                  </a:lnTo>
                  <a:lnTo>
                    <a:pt x="3933" y="1258"/>
                  </a:lnTo>
                  <a:lnTo>
                    <a:pt x="3976" y="1239"/>
                  </a:lnTo>
                  <a:lnTo>
                    <a:pt x="4017" y="1220"/>
                  </a:lnTo>
                  <a:lnTo>
                    <a:pt x="4056" y="1196"/>
                  </a:lnTo>
                  <a:lnTo>
                    <a:pt x="4091" y="1172"/>
                  </a:lnTo>
                  <a:lnTo>
                    <a:pt x="4120" y="1147"/>
                  </a:lnTo>
                  <a:lnTo>
                    <a:pt x="4147" y="1122"/>
                  </a:lnTo>
                  <a:lnTo>
                    <a:pt x="4168" y="1099"/>
                  </a:lnTo>
                  <a:lnTo>
                    <a:pt x="4185" y="1078"/>
                  </a:lnTo>
                  <a:lnTo>
                    <a:pt x="4200" y="1060"/>
                  </a:lnTo>
                  <a:lnTo>
                    <a:pt x="4209" y="1045"/>
                  </a:lnTo>
                  <a:lnTo>
                    <a:pt x="4215" y="1037"/>
                  </a:lnTo>
                  <a:lnTo>
                    <a:pt x="4218" y="1034"/>
                  </a:lnTo>
                  <a:lnTo>
                    <a:pt x="4215" y="1014"/>
                  </a:lnTo>
                  <a:lnTo>
                    <a:pt x="4212" y="994"/>
                  </a:lnTo>
                  <a:lnTo>
                    <a:pt x="4206" y="970"/>
                  </a:lnTo>
                  <a:lnTo>
                    <a:pt x="4199" y="945"/>
                  </a:lnTo>
                  <a:lnTo>
                    <a:pt x="4188" y="918"/>
                  </a:lnTo>
                  <a:lnTo>
                    <a:pt x="4175" y="892"/>
                  </a:lnTo>
                  <a:lnTo>
                    <a:pt x="4160" y="865"/>
                  </a:lnTo>
                  <a:lnTo>
                    <a:pt x="4140" y="839"/>
                  </a:lnTo>
                  <a:lnTo>
                    <a:pt x="4116" y="814"/>
                  </a:lnTo>
                  <a:lnTo>
                    <a:pt x="4087" y="788"/>
                  </a:lnTo>
                  <a:lnTo>
                    <a:pt x="4054" y="765"/>
                  </a:lnTo>
                  <a:lnTo>
                    <a:pt x="4014" y="744"/>
                  </a:lnTo>
                  <a:lnTo>
                    <a:pt x="3970" y="725"/>
                  </a:lnTo>
                  <a:lnTo>
                    <a:pt x="3920" y="709"/>
                  </a:lnTo>
                  <a:lnTo>
                    <a:pt x="3863" y="697"/>
                  </a:lnTo>
                  <a:lnTo>
                    <a:pt x="3782" y="687"/>
                  </a:lnTo>
                  <a:lnTo>
                    <a:pt x="3702" y="681"/>
                  </a:lnTo>
                  <a:lnTo>
                    <a:pt x="3624" y="679"/>
                  </a:lnTo>
                  <a:close/>
                  <a:moveTo>
                    <a:pt x="1201" y="679"/>
                  </a:moveTo>
                  <a:lnTo>
                    <a:pt x="1123" y="681"/>
                  </a:lnTo>
                  <a:lnTo>
                    <a:pt x="1043" y="687"/>
                  </a:lnTo>
                  <a:lnTo>
                    <a:pt x="962" y="697"/>
                  </a:lnTo>
                  <a:lnTo>
                    <a:pt x="905" y="709"/>
                  </a:lnTo>
                  <a:lnTo>
                    <a:pt x="854" y="725"/>
                  </a:lnTo>
                  <a:lnTo>
                    <a:pt x="810" y="744"/>
                  </a:lnTo>
                  <a:lnTo>
                    <a:pt x="772" y="765"/>
                  </a:lnTo>
                  <a:lnTo>
                    <a:pt x="740" y="788"/>
                  </a:lnTo>
                  <a:lnTo>
                    <a:pt x="710" y="814"/>
                  </a:lnTo>
                  <a:lnTo>
                    <a:pt x="686" y="839"/>
                  </a:lnTo>
                  <a:lnTo>
                    <a:pt x="667" y="865"/>
                  </a:lnTo>
                  <a:lnTo>
                    <a:pt x="651" y="892"/>
                  </a:lnTo>
                  <a:lnTo>
                    <a:pt x="638" y="918"/>
                  </a:lnTo>
                  <a:lnTo>
                    <a:pt x="628" y="945"/>
                  </a:lnTo>
                  <a:lnTo>
                    <a:pt x="620" y="970"/>
                  </a:lnTo>
                  <a:lnTo>
                    <a:pt x="616" y="994"/>
                  </a:lnTo>
                  <a:lnTo>
                    <a:pt x="611" y="1014"/>
                  </a:lnTo>
                  <a:lnTo>
                    <a:pt x="610" y="1034"/>
                  </a:lnTo>
                  <a:lnTo>
                    <a:pt x="611" y="1037"/>
                  </a:lnTo>
                  <a:lnTo>
                    <a:pt x="617" y="1045"/>
                  </a:lnTo>
                  <a:lnTo>
                    <a:pt x="628" y="1060"/>
                  </a:lnTo>
                  <a:lnTo>
                    <a:pt x="641" y="1078"/>
                  </a:lnTo>
                  <a:lnTo>
                    <a:pt x="659" y="1099"/>
                  </a:lnTo>
                  <a:lnTo>
                    <a:pt x="681" y="1122"/>
                  </a:lnTo>
                  <a:lnTo>
                    <a:pt x="706" y="1147"/>
                  </a:lnTo>
                  <a:lnTo>
                    <a:pt x="735" y="1172"/>
                  </a:lnTo>
                  <a:lnTo>
                    <a:pt x="769" y="1196"/>
                  </a:lnTo>
                  <a:lnTo>
                    <a:pt x="807" y="1220"/>
                  </a:lnTo>
                  <a:lnTo>
                    <a:pt x="850" y="1239"/>
                  </a:lnTo>
                  <a:lnTo>
                    <a:pt x="891" y="1258"/>
                  </a:lnTo>
                  <a:lnTo>
                    <a:pt x="935" y="1277"/>
                  </a:lnTo>
                  <a:lnTo>
                    <a:pt x="981" y="1296"/>
                  </a:lnTo>
                  <a:lnTo>
                    <a:pt x="1031" y="1316"/>
                  </a:lnTo>
                  <a:lnTo>
                    <a:pt x="1083" y="1335"/>
                  </a:lnTo>
                  <a:lnTo>
                    <a:pt x="1137" y="1351"/>
                  </a:lnTo>
                  <a:lnTo>
                    <a:pt x="1195" y="1366"/>
                  </a:lnTo>
                  <a:lnTo>
                    <a:pt x="1257" y="1379"/>
                  </a:lnTo>
                  <a:lnTo>
                    <a:pt x="1323" y="1387"/>
                  </a:lnTo>
                  <a:lnTo>
                    <a:pt x="1392" y="1392"/>
                  </a:lnTo>
                  <a:lnTo>
                    <a:pt x="1467" y="1391"/>
                  </a:lnTo>
                  <a:lnTo>
                    <a:pt x="1545" y="1387"/>
                  </a:lnTo>
                  <a:lnTo>
                    <a:pt x="1616" y="1376"/>
                  </a:lnTo>
                  <a:lnTo>
                    <a:pt x="1679" y="1364"/>
                  </a:lnTo>
                  <a:lnTo>
                    <a:pt x="1734" y="1351"/>
                  </a:lnTo>
                  <a:lnTo>
                    <a:pt x="1781" y="1336"/>
                  </a:lnTo>
                  <a:lnTo>
                    <a:pt x="1822" y="1320"/>
                  </a:lnTo>
                  <a:lnTo>
                    <a:pt x="1856" y="1302"/>
                  </a:lnTo>
                  <a:lnTo>
                    <a:pt x="1884" y="1286"/>
                  </a:lnTo>
                  <a:lnTo>
                    <a:pt x="1908" y="1268"/>
                  </a:lnTo>
                  <a:lnTo>
                    <a:pt x="1925" y="1252"/>
                  </a:lnTo>
                  <a:lnTo>
                    <a:pt x="1939" y="1236"/>
                  </a:lnTo>
                  <a:lnTo>
                    <a:pt x="1949" y="1221"/>
                  </a:lnTo>
                  <a:lnTo>
                    <a:pt x="1955" y="1208"/>
                  </a:lnTo>
                  <a:lnTo>
                    <a:pt x="1958" y="1196"/>
                  </a:lnTo>
                  <a:lnTo>
                    <a:pt x="1958" y="1183"/>
                  </a:lnTo>
                  <a:lnTo>
                    <a:pt x="1950" y="1165"/>
                  </a:lnTo>
                  <a:lnTo>
                    <a:pt x="1939" y="1143"/>
                  </a:lnTo>
                  <a:lnTo>
                    <a:pt x="1921" y="1118"/>
                  </a:lnTo>
                  <a:lnTo>
                    <a:pt x="1899" y="1090"/>
                  </a:lnTo>
                  <a:lnTo>
                    <a:pt x="1872" y="1059"/>
                  </a:lnTo>
                  <a:lnTo>
                    <a:pt x="1843" y="1025"/>
                  </a:lnTo>
                  <a:lnTo>
                    <a:pt x="1809" y="988"/>
                  </a:lnTo>
                  <a:lnTo>
                    <a:pt x="1772" y="948"/>
                  </a:lnTo>
                  <a:lnTo>
                    <a:pt x="1732" y="908"/>
                  </a:lnTo>
                  <a:lnTo>
                    <a:pt x="1691" y="865"/>
                  </a:lnTo>
                  <a:lnTo>
                    <a:pt x="1647" y="824"/>
                  </a:lnTo>
                  <a:lnTo>
                    <a:pt x="1595" y="788"/>
                  </a:lnTo>
                  <a:lnTo>
                    <a:pt x="1541" y="757"/>
                  </a:lnTo>
                  <a:lnTo>
                    <a:pt x="1481" y="731"/>
                  </a:lnTo>
                  <a:lnTo>
                    <a:pt x="1416" y="710"/>
                  </a:lnTo>
                  <a:lnTo>
                    <a:pt x="1346" y="695"/>
                  </a:lnTo>
                  <a:lnTo>
                    <a:pt x="1274" y="685"/>
                  </a:lnTo>
                  <a:lnTo>
                    <a:pt x="1201" y="679"/>
                  </a:lnTo>
                  <a:close/>
                  <a:moveTo>
                    <a:pt x="1118" y="0"/>
                  </a:moveTo>
                  <a:lnTo>
                    <a:pt x="1177" y="1"/>
                  </a:lnTo>
                  <a:lnTo>
                    <a:pt x="1239" y="3"/>
                  </a:lnTo>
                  <a:lnTo>
                    <a:pt x="1305" y="7"/>
                  </a:lnTo>
                  <a:lnTo>
                    <a:pt x="1374" y="12"/>
                  </a:lnTo>
                  <a:lnTo>
                    <a:pt x="1447" y="18"/>
                  </a:lnTo>
                  <a:lnTo>
                    <a:pt x="1520" y="25"/>
                  </a:lnTo>
                  <a:lnTo>
                    <a:pt x="1595" y="32"/>
                  </a:lnTo>
                  <a:lnTo>
                    <a:pt x="1672" y="40"/>
                  </a:lnTo>
                  <a:lnTo>
                    <a:pt x="1747" y="49"/>
                  </a:lnTo>
                  <a:lnTo>
                    <a:pt x="1821" y="56"/>
                  </a:lnTo>
                  <a:lnTo>
                    <a:pt x="1895" y="65"/>
                  </a:lnTo>
                  <a:lnTo>
                    <a:pt x="1965" y="74"/>
                  </a:lnTo>
                  <a:lnTo>
                    <a:pt x="2034" y="83"/>
                  </a:lnTo>
                  <a:lnTo>
                    <a:pt x="2099" y="91"/>
                  </a:lnTo>
                  <a:lnTo>
                    <a:pt x="2160" y="100"/>
                  </a:lnTo>
                  <a:lnTo>
                    <a:pt x="2216" y="108"/>
                  </a:lnTo>
                  <a:lnTo>
                    <a:pt x="2266" y="115"/>
                  </a:lnTo>
                  <a:lnTo>
                    <a:pt x="2311" y="121"/>
                  </a:lnTo>
                  <a:lnTo>
                    <a:pt x="2350" y="127"/>
                  </a:lnTo>
                  <a:lnTo>
                    <a:pt x="2381" y="131"/>
                  </a:lnTo>
                  <a:lnTo>
                    <a:pt x="2403" y="134"/>
                  </a:lnTo>
                  <a:lnTo>
                    <a:pt x="2417" y="137"/>
                  </a:lnTo>
                  <a:lnTo>
                    <a:pt x="2422" y="137"/>
                  </a:lnTo>
                  <a:lnTo>
                    <a:pt x="2426" y="137"/>
                  </a:lnTo>
                  <a:lnTo>
                    <a:pt x="2440" y="134"/>
                  </a:lnTo>
                  <a:lnTo>
                    <a:pt x="2462" y="131"/>
                  </a:lnTo>
                  <a:lnTo>
                    <a:pt x="2493" y="127"/>
                  </a:lnTo>
                  <a:lnTo>
                    <a:pt x="2529" y="121"/>
                  </a:lnTo>
                  <a:lnTo>
                    <a:pt x="2574" y="115"/>
                  </a:lnTo>
                  <a:lnTo>
                    <a:pt x="2622" y="108"/>
                  </a:lnTo>
                  <a:lnTo>
                    <a:pt x="2678" y="99"/>
                  </a:lnTo>
                  <a:lnTo>
                    <a:pt x="2737" y="91"/>
                  </a:lnTo>
                  <a:lnTo>
                    <a:pt x="2801" y="83"/>
                  </a:lnTo>
                  <a:lnTo>
                    <a:pt x="2868" y="74"/>
                  </a:lnTo>
                  <a:lnTo>
                    <a:pt x="2938" y="65"/>
                  </a:lnTo>
                  <a:lnTo>
                    <a:pt x="3010" y="56"/>
                  </a:lnTo>
                  <a:lnTo>
                    <a:pt x="3083" y="47"/>
                  </a:lnTo>
                  <a:lnTo>
                    <a:pt x="3158" y="38"/>
                  </a:lnTo>
                  <a:lnTo>
                    <a:pt x="3234" y="31"/>
                  </a:lnTo>
                  <a:lnTo>
                    <a:pt x="3309" y="23"/>
                  </a:lnTo>
                  <a:lnTo>
                    <a:pt x="3382" y="16"/>
                  </a:lnTo>
                  <a:lnTo>
                    <a:pt x="3456" y="10"/>
                  </a:lnTo>
                  <a:lnTo>
                    <a:pt x="3525" y="6"/>
                  </a:lnTo>
                  <a:lnTo>
                    <a:pt x="3593" y="3"/>
                  </a:lnTo>
                  <a:lnTo>
                    <a:pt x="3658" y="1"/>
                  </a:lnTo>
                  <a:lnTo>
                    <a:pt x="3718" y="0"/>
                  </a:lnTo>
                  <a:lnTo>
                    <a:pt x="3789" y="1"/>
                  </a:lnTo>
                  <a:lnTo>
                    <a:pt x="3861" y="4"/>
                  </a:lnTo>
                  <a:lnTo>
                    <a:pt x="3933" y="9"/>
                  </a:lnTo>
                  <a:lnTo>
                    <a:pt x="4006" y="16"/>
                  </a:lnTo>
                  <a:lnTo>
                    <a:pt x="4078" y="23"/>
                  </a:lnTo>
                  <a:lnTo>
                    <a:pt x="4147" y="32"/>
                  </a:lnTo>
                  <a:lnTo>
                    <a:pt x="4215" y="43"/>
                  </a:lnTo>
                  <a:lnTo>
                    <a:pt x="4281" y="53"/>
                  </a:lnTo>
                  <a:lnTo>
                    <a:pt x="4344" y="63"/>
                  </a:lnTo>
                  <a:lnTo>
                    <a:pt x="4403" y="74"/>
                  </a:lnTo>
                  <a:lnTo>
                    <a:pt x="4458" y="85"/>
                  </a:lnTo>
                  <a:lnTo>
                    <a:pt x="4509" y="96"/>
                  </a:lnTo>
                  <a:lnTo>
                    <a:pt x="4555" y="105"/>
                  </a:lnTo>
                  <a:lnTo>
                    <a:pt x="4595" y="114"/>
                  </a:lnTo>
                  <a:lnTo>
                    <a:pt x="4630" y="122"/>
                  </a:lnTo>
                  <a:lnTo>
                    <a:pt x="4657" y="128"/>
                  </a:lnTo>
                  <a:lnTo>
                    <a:pt x="4677" y="133"/>
                  </a:lnTo>
                  <a:lnTo>
                    <a:pt x="4691" y="137"/>
                  </a:lnTo>
                  <a:lnTo>
                    <a:pt x="4695" y="137"/>
                  </a:lnTo>
                  <a:lnTo>
                    <a:pt x="4730" y="142"/>
                  </a:lnTo>
                  <a:lnTo>
                    <a:pt x="4764" y="153"/>
                  </a:lnTo>
                  <a:lnTo>
                    <a:pt x="4794" y="173"/>
                  </a:lnTo>
                  <a:lnTo>
                    <a:pt x="4817" y="196"/>
                  </a:lnTo>
                  <a:lnTo>
                    <a:pt x="4836" y="226"/>
                  </a:lnTo>
                  <a:lnTo>
                    <a:pt x="4848" y="260"/>
                  </a:lnTo>
                  <a:lnTo>
                    <a:pt x="4853" y="295"/>
                  </a:lnTo>
                  <a:lnTo>
                    <a:pt x="4853" y="1627"/>
                  </a:lnTo>
                  <a:lnTo>
                    <a:pt x="4848" y="1641"/>
                  </a:lnTo>
                  <a:lnTo>
                    <a:pt x="4839" y="1660"/>
                  </a:lnTo>
                  <a:lnTo>
                    <a:pt x="4825" y="1682"/>
                  </a:lnTo>
                  <a:lnTo>
                    <a:pt x="4803" y="1709"/>
                  </a:lnTo>
                  <a:lnTo>
                    <a:pt x="4776" y="1737"/>
                  </a:lnTo>
                  <a:lnTo>
                    <a:pt x="4745" y="1768"/>
                  </a:lnTo>
                  <a:lnTo>
                    <a:pt x="4708" y="1802"/>
                  </a:lnTo>
                  <a:lnTo>
                    <a:pt x="4666" y="1836"/>
                  </a:lnTo>
                  <a:lnTo>
                    <a:pt x="4620" y="1871"/>
                  </a:lnTo>
                  <a:lnTo>
                    <a:pt x="4570" y="1906"/>
                  </a:lnTo>
                  <a:lnTo>
                    <a:pt x="4517" y="1943"/>
                  </a:lnTo>
                  <a:lnTo>
                    <a:pt x="4458" y="1977"/>
                  </a:lnTo>
                  <a:lnTo>
                    <a:pt x="4397" y="2011"/>
                  </a:lnTo>
                  <a:lnTo>
                    <a:pt x="4333" y="2044"/>
                  </a:lnTo>
                  <a:lnTo>
                    <a:pt x="4266" y="2075"/>
                  </a:lnTo>
                  <a:lnTo>
                    <a:pt x="4196" y="2103"/>
                  </a:lnTo>
                  <a:lnTo>
                    <a:pt x="4123" y="2126"/>
                  </a:lnTo>
                  <a:lnTo>
                    <a:pt x="4050" y="2149"/>
                  </a:lnTo>
                  <a:lnTo>
                    <a:pt x="3973" y="2165"/>
                  </a:lnTo>
                  <a:lnTo>
                    <a:pt x="3895" y="2177"/>
                  </a:lnTo>
                  <a:lnTo>
                    <a:pt x="3816" y="2184"/>
                  </a:lnTo>
                  <a:lnTo>
                    <a:pt x="3736" y="2187"/>
                  </a:lnTo>
                  <a:lnTo>
                    <a:pt x="3643" y="2181"/>
                  </a:lnTo>
                  <a:lnTo>
                    <a:pt x="3555" y="2168"/>
                  </a:lnTo>
                  <a:lnTo>
                    <a:pt x="3468" y="2147"/>
                  </a:lnTo>
                  <a:lnTo>
                    <a:pt x="3384" y="2121"/>
                  </a:lnTo>
                  <a:lnTo>
                    <a:pt x="3303" y="2088"/>
                  </a:lnTo>
                  <a:lnTo>
                    <a:pt x="3225" y="2053"/>
                  </a:lnTo>
                  <a:lnTo>
                    <a:pt x="3148" y="2013"/>
                  </a:lnTo>
                  <a:lnTo>
                    <a:pt x="3075" y="1971"/>
                  </a:lnTo>
                  <a:lnTo>
                    <a:pt x="3004" y="1929"/>
                  </a:lnTo>
                  <a:lnTo>
                    <a:pt x="2936" y="1884"/>
                  </a:lnTo>
                  <a:lnTo>
                    <a:pt x="2870" y="1841"/>
                  </a:lnTo>
                  <a:lnTo>
                    <a:pt x="2806" y="1800"/>
                  </a:lnTo>
                  <a:lnTo>
                    <a:pt x="2746" y="1762"/>
                  </a:lnTo>
                  <a:lnTo>
                    <a:pt x="2687" y="1725"/>
                  </a:lnTo>
                  <a:lnTo>
                    <a:pt x="2630" y="1694"/>
                  </a:lnTo>
                  <a:lnTo>
                    <a:pt x="2577" y="1667"/>
                  </a:lnTo>
                  <a:lnTo>
                    <a:pt x="2524" y="1646"/>
                  </a:lnTo>
                  <a:lnTo>
                    <a:pt x="2473" y="1633"/>
                  </a:lnTo>
                  <a:lnTo>
                    <a:pt x="2426" y="1627"/>
                  </a:lnTo>
                  <a:lnTo>
                    <a:pt x="2388" y="1629"/>
                  </a:lnTo>
                  <a:lnTo>
                    <a:pt x="2348" y="1638"/>
                  </a:lnTo>
                  <a:lnTo>
                    <a:pt x="2310" y="1651"/>
                  </a:lnTo>
                  <a:lnTo>
                    <a:pt x="2270" y="1670"/>
                  </a:lnTo>
                  <a:lnTo>
                    <a:pt x="2229" y="1692"/>
                  </a:lnTo>
                  <a:lnTo>
                    <a:pt x="2188" y="1719"/>
                  </a:lnTo>
                  <a:lnTo>
                    <a:pt x="2146" y="1748"/>
                  </a:lnTo>
                  <a:lnTo>
                    <a:pt x="2102" y="1781"/>
                  </a:lnTo>
                  <a:lnTo>
                    <a:pt x="2058" y="1815"/>
                  </a:lnTo>
                  <a:lnTo>
                    <a:pt x="2011" y="1852"/>
                  </a:lnTo>
                  <a:lnTo>
                    <a:pt x="1962" y="1889"/>
                  </a:lnTo>
                  <a:lnTo>
                    <a:pt x="1912" y="1926"/>
                  </a:lnTo>
                  <a:lnTo>
                    <a:pt x="1861" y="1963"/>
                  </a:lnTo>
                  <a:lnTo>
                    <a:pt x="1806" y="1998"/>
                  </a:lnTo>
                  <a:lnTo>
                    <a:pt x="1749" y="2032"/>
                  </a:lnTo>
                  <a:lnTo>
                    <a:pt x="1688" y="2064"/>
                  </a:lnTo>
                  <a:lnTo>
                    <a:pt x="1625" y="2094"/>
                  </a:lnTo>
                  <a:lnTo>
                    <a:pt x="1559" y="2121"/>
                  </a:lnTo>
                  <a:lnTo>
                    <a:pt x="1489" y="2144"/>
                  </a:lnTo>
                  <a:lnTo>
                    <a:pt x="1417" y="2162"/>
                  </a:lnTo>
                  <a:lnTo>
                    <a:pt x="1341" y="2177"/>
                  </a:lnTo>
                  <a:lnTo>
                    <a:pt x="1261" y="2184"/>
                  </a:lnTo>
                  <a:lnTo>
                    <a:pt x="1177" y="2187"/>
                  </a:lnTo>
                  <a:lnTo>
                    <a:pt x="1068" y="2181"/>
                  </a:lnTo>
                  <a:lnTo>
                    <a:pt x="963" y="2171"/>
                  </a:lnTo>
                  <a:lnTo>
                    <a:pt x="863" y="2155"/>
                  </a:lnTo>
                  <a:lnTo>
                    <a:pt x="769" y="2134"/>
                  </a:lnTo>
                  <a:lnTo>
                    <a:pt x="678" y="2107"/>
                  </a:lnTo>
                  <a:lnTo>
                    <a:pt x="591" y="2078"/>
                  </a:lnTo>
                  <a:lnTo>
                    <a:pt x="510" y="2045"/>
                  </a:lnTo>
                  <a:lnTo>
                    <a:pt x="433" y="2010"/>
                  </a:lnTo>
                  <a:lnTo>
                    <a:pt x="362" y="1971"/>
                  </a:lnTo>
                  <a:lnTo>
                    <a:pt x="298" y="1932"/>
                  </a:lnTo>
                  <a:lnTo>
                    <a:pt x="239" y="1892"/>
                  </a:lnTo>
                  <a:lnTo>
                    <a:pt x="184" y="1850"/>
                  </a:lnTo>
                  <a:lnTo>
                    <a:pt x="137" y="1809"/>
                  </a:lnTo>
                  <a:lnTo>
                    <a:pt x="97" y="1769"/>
                  </a:lnTo>
                  <a:lnTo>
                    <a:pt x="62" y="1731"/>
                  </a:lnTo>
                  <a:lnTo>
                    <a:pt x="34" y="1694"/>
                  </a:lnTo>
                  <a:lnTo>
                    <a:pt x="13" y="1658"/>
                  </a:lnTo>
                  <a:lnTo>
                    <a:pt x="0" y="1627"/>
                  </a:lnTo>
                  <a:lnTo>
                    <a:pt x="0" y="295"/>
                  </a:lnTo>
                  <a:lnTo>
                    <a:pt x="4" y="260"/>
                  </a:lnTo>
                  <a:lnTo>
                    <a:pt x="16" y="226"/>
                  </a:lnTo>
                  <a:lnTo>
                    <a:pt x="35" y="196"/>
                  </a:lnTo>
                  <a:lnTo>
                    <a:pt x="59" y="173"/>
                  </a:lnTo>
                  <a:lnTo>
                    <a:pt x="88" y="153"/>
                  </a:lnTo>
                  <a:lnTo>
                    <a:pt x="121" y="142"/>
                  </a:lnTo>
                  <a:lnTo>
                    <a:pt x="158" y="137"/>
                  </a:lnTo>
                  <a:lnTo>
                    <a:pt x="162" y="136"/>
                  </a:lnTo>
                  <a:lnTo>
                    <a:pt x="175" y="133"/>
                  </a:lnTo>
                  <a:lnTo>
                    <a:pt x="197" y="128"/>
                  </a:lnTo>
                  <a:lnTo>
                    <a:pt x="225" y="121"/>
                  </a:lnTo>
                  <a:lnTo>
                    <a:pt x="261" y="114"/>
                  </a:lnTo>
                  <a:lnTo>
                    <a:pt x="303" y="103"/>
                  </a:lnTo>
                  <a:lnTo>
                    <a:pt x="351" y="94"/>
                  </a:lnTo>
                  <a:lnTo>
                    <a:pt x="404" y="83"/>
                  </a:lnTo>
                  <a:lnTo>
                    <a:pt x="460" y="72"/>
                  </a:lnTo>
                  <a:lnTo>
                    <a:pt x="520" y="60"/>
                  </a:lnTo>
                  <a:lnTo>
                    <a:pt x="585" y="50"/>
                  </a:lnTo>
                  <a:lnTo>
                    <a:pt x="650" y="40"/>
                  </a:lnTo>
                  <a:lnTo>
                    <a:pt x="719" y="29"/>
                  </a:lnTo>
                  <a:lnTo>
                    <a:pt x="788" y="20"/>
                  </a:lnTo>
                  <a:lnTo>
                    <a:pt x="857" y="13"/>
                  </a:lnTo>
                  <a:lnTo>
                    <a:pt x="928" y="7"/>
                  </a:lnTo>
                  <a:lnTo>
                    <a:pt x="997" y="3"/>
                  </a:lnTo>
                  <a:lnTo>
                    <a:pt x="1065" y="0"/>
                  </a:lnTo>
                  <a:lnTo>
                    <a:pt x="1118"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53" name="Rectangle 152">
              <a:extLst>
                <a:ext uri="{FF2B5EF4-FFF2-40B4-BE49-F238E27FC236}">
                  <a16:creationId xmlns:a16="http://schemas.microsoft.com/office/drawing/2014/main" id="{89802529-E1B0-4F94-968A-4064B831330A}"/>
                </a:ext>
              </a:extLst>
            </p:cNvPr>
            <p:cNvSpPr/>
            <p:nvPr/>
          </p:nvSpPr>
          <p:spPr>
            <a:xfrm>
              <a:off x="5036629" y="6088062"/>
              <a:ext cx="978145" cy="470922"/>
            </a:xfrm>
            <a:prstGeom prst="rect">
              <a:avLst/>
            </a:prstGeom>
          </p:spPr>
          <p:txBody>
            <a:bodyPr wrap="none">
              <a:spAutoFit/>
            </a:bodyPr>
            <a:lstStyle/>
            <a:p>
              <a:pPr marL="0" marR="0" lvl="0" indent="0" algn="ctr" defTabSz="896386"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IDENTITY </a:t>
              </a:r>
              <a:b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SPOOFING</a:t>
              </a:r>
            </a:p>
          </p:txBody>
        </p:sp>
      </p:grpSp>
      <p:grpSp>
        <p:nvGrpSpPr>
          <p:cNvPr id="14" name="Group 13">
            <a:extLst>
              <a:ext uri="{FF2B5EF4-FFF2-40B4-BE49-F238E27FC236}">
                <a16:creationId xmlns:a16="http://schemas.microsoft.com/office/drawing/2014/main" id="{7898AE43-7C3B-4733-BB64-B0D742A26E1B}"/>
              </a:ext>
            </a:extLst>
          </p:cNvPr>
          <p:cNvGrpSpPr/>
          <p:nvPr/>
        </p:nvGrpSpPr>
        <p:grpSpPr>
          <a:xfrm>
            <a:off x="9041559" y="4803386"/>
            <a:ext cx="1210588" cy="1627149"/>
            <a:chOff x="9222858" y="4899207"/>
            <a:chExt cx="1234863" cy="1659777"/>
          </a:xfrm>
        </p:grpSpPr>
        <p:sp>
          <p:nvSpPr>
            <p:cNvPr id="166" name="Oval 165">
              <a:extLst>
                <a:ext uri="{FF2B5EF4-FFF2-40B4-BE49-F238E27FC236}">
                  <a16:creationId xmlns:a16="http://schemas.microsoft.com/office/drawing/2014/main" id="{EA8DF30E-D69F-4885-BF1F-73FF0F30F0D2}"/>
                </a:ext>
              </a:extLst>
            </p:cNvPr>
            <p:cNvSpPr/>
            <p:nvPr/>
          </p:nvSpPr>
          <p:spPr>
            <a:xfrm>
              <a:off x="9318032" y="4926292"/>
              <a:ext cx="1054966" cy="10549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8" name="Donut 53">
              <a:extLst>
                <a:ext uri="{FF2B5EF4-FFF2-40B4-BE49-F238E27FC236}">
                  <a16:creationId xmlns:a16="http://schemas.microsoft.com/office/drawing/2014/main" id="{79318B23-C2A7-429C-BB2A-6A9D56DBF699}"/>
                </a:ext>
              </a:extLst>
            </p:cNvPr>
            <p:cNvSpPr/>
            <p:nvPr/>
          </p:nvSpPr>
          <p:spPr>
            <a:xfrm>
              <a:off x="9280225" y="4899207"/>
              <a:ext cx="1120129" cy="1120129"/>
            </a:xfrm>
            <a:prstGeom prst="donut">
              <a:avLst>
                <a:gd name="adj" fmla="val 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69" name="Group 168">
              <a:extLst>
                <a:ext uri="{FF2B5EF4-FFF2-40B4-BE49-F238E27FC236}">
                  <a16:creationId xmlns:a16="http://schemas.microsoft.com/office/drawing/2014/main" id="{F0E1D638-7998-4BA5-A392-39645FCA75F8}"/>
                </a:ext>
              </a:extLst>
            </p:cNvPr>
            <p:cNvGrpSpPr/>
            <p:nvPr/>
          </p:nvGrpSpPr>
          <p:grpSpPr>
            <a:xfrm>
              <a:off x="9403059" y="5106900"/>
              <a:ext cx="916075" cy="732859"/>
              <a:chOff x="7294563" y="-47625"/>
              <a:chExt cx="1516063" cy="1212850"/>
            </a:xfrm>
            <a:solidFill>
              <a:schemeClr val="accent1"/>
            </a:solidFill>
          </p:grpSpPr>
          <p:sp>
            <p:nvSpPr>
              <p:cNvPr id="170" name="Freeform 231">
                <a:extLst>
                  <a:ext uri="{FF2B5EF4-FFF2-40B4-BE49-F238E27FC236}">
                    <a16:creationId xmlns:a16="http://schemas.microsoft.com/office/drawing/2014/main" id="{1F45B349-2A94-4D5E-81EC-268FD8E47DA1}"/>
                  </a:ext>
                </a:extLst>
              </p:cNvPr>
              <p:cNvSpPr>
                <a:spLocks noEditPoints="1"/>
              </p:cNvSpPr>
              <p:nvPr/>
            </p:nvSpPr>
            <p:spPr bwMode="auto">
              <a:xfrm>
                <a:off x="7789863" y="-47625"/>
                <a:ext cx="441325" cy="1212850"/>
              </a:xfrm>
              <a:custGeom>
                <a:avLst/>
                <a:gdLst>
                  <a:gd name="T0" fmla="*/ 243 w 1112"/>
                  <a:gd name="T1" fmla="*/ 750 h 3055"/>
                  <a:gd name="T2" fmla="*/ 297 w 1112"/>
                  <a:gd name="T3" fmla="*/ 750 h 3055"/>
                  <a:gd name="T4" fmla="*/ 813 w 1112"/>
                  <a:gd name="T5" fmla="*/ 750 h 3055"/>
                  <a:gd name="T6" fmla="*/ 976 w 1112"/>
                  <a:gd name="T7" fmla="*/ 764 h 3055"/>
                  <a:gd name="T8" fmla="*/ 1062 w 1112"/>
                  <a:gd name="T9" fmla="*/ 827 h 3055"/>
                  <a:gd name="T10" fmla="*/ 1109 w 1112"/>
                  <a:gd name="T11" fmla="*/ 926 h 3055"/>
                  <a:gd name="T12" fmla="*/ 1112 w 1112"/>
                  <a:gd name="T13" fmla="*/ 965 h 3055"/>
                  <a:gd name="T14" fmla="*/ 1112 w 1112"/>
                  <a:gd name="T15" fmla="*/ 972 h 3055"/>
                  <a:gd name="T16" fmla="*/ 1112 w 1112"/>
                  <a:gd name="T17" fmla="*/ 1466 h 3055"/>
                  <a:gd name="T18" fmla="*/ 1112 w 1112"/>
                  <a:gd name="T19" fmla="*/ 1826 h 3055"/>
                  <a:gd name="T20" fmla="*/ 1098 w 1112"/>
                  <a:gd name="T21" fmla="*/ 2012 h 3055"/>
                  <a:gd name="T22" fmla="*/ 1037 w 1112"/>
                  <a:gd name="T23" fmla="*/ 2101 h 3055"/>
                  <a:gd name="T24" fmla="*/ 941 w 1112"/>
                  <a:gd name="T25" fmla="*/ 2149 h 3055"/>
                  <a:gd name="T26" fmla="*/ 900 w 1112"/>
                  <a:gd name="T27" fmla="*/ 2879 h 3055"/>
                  <a:gd name="T28" fmla="*/ 857 w 1112"/>
                  <a:gd name="T29" fmla="*/ 2978 h 3055"/>
                  <a:gd name="T30" fmla="*/ 774 w 1112"/>
                  <a:gd name="T31" fmla="*/ 3042 h 3055"/>
                  <a:gd name="T32" fmla="*/ 702 w 1112"/>
                  <a:gd name="T33" fmla="*/ 3055 h 3055"/>
                  <a:gd name="T34" fmla="*/ 623 w 1112"/>
                  <a:gd name="T35" fmla="*/ 3055 h 3055"/>
                  <a:gd name="T36" fmla="*/ 408 w 1112"/>
                  <a:gd name="T37" fmla="*/ 3055 h 3055"/>
                  <a:gd name="T38" fmla="*/ 306 w 1112"/>
                  <a:gd name="T39" fmla="*/ 3026 h 3055"/>
                  <a:gd name="T40" fmla="*/ 235 w 1112"/>
                  <a:gd name="T41" fmla="*/ 2948 h 3055"/>
                  <a:gd name="T42" fmla="*/ 208 w 1112"/>
                  <a:gd name="T43" fmla="*/ 2842 h 3055"/>
                  <a:gd name="T44" fmla="*/ 208 w 1112"/>
                  <a:gd name="T45" fmla="*/ 2741 h 3055"/>
                  <a:gd name="T46" fmla="*/ 137 w 1112"/>
                  <a:gd name="T47" fmla="*/ 2140 h 3055"/>
                  <a:gd name="T48" fmla="*/ 50 w 1112"/>
                  <a:gd name="T49" fmla="*/ 2076 h 3055"/>
                  <a:gd name="T50" fmla="*/ 3 w 1112"/>
                  <a:gd name="T51" fmla="*/ 1976 h 3055"/>
                  <a:gd name="T52" fmla="*/ 0 w 1112"/>
                  <a:gd name="T53" fmla="*/ 1938 h 3055"/>
                  <a:gd name="T54" fmla="*/ 0 w 1112"/>
                  <a:gd name="T55" fmla="*/ 1924 h 3055"/>
                  <a:gd name="T56" fmla="*/ 0 w 1112"/>
                  <a:gd name="T57" fmla="*/ 1359 h 3055"/>
                  <a:gd name="T58" fmla="*/ 0 w 1112"/>
                  <a:gd name="T59" fmla="*/ 964 h 3055"/>
                  <a:gd name="T60" fmla="*/ 29 w 1112"/>
                  <a:gd name="T61" fmla="*/ 858 h 3055"/>
                  <a:gd name="T62" fmla="*/ 104 w 1112"/>
                  <a:gd name="T63" fmla="*/ 780 h 3055"/>
                  <a:gd name="T64" fmla="*/ 208 w 1112"/>
                  <a:gd name="T65" fmla="*/ 750 h 3055"/>
                  <a:gd name="T66" fmla="*/ 210 w 1112"/>
                  <a:gd name="T67" fmla="*/ 750 h 3055"/>
                  <a:gd name="T68" fmla="*/ 554 w 1112"/>
                  <a:gd name="T69" fmla="*/ 0 h 3055"/>
                  <a:gd name="T70" fmla="*/ 682 w 1112"/>
                  <a:gd name="T71" fmla="*/ 27 h 3055"/>
                  <a:gd name="T72" fmla="*/ 788 w 1112"/>
                  <a:gd name="T73" fmla="*/ 101 h 3055"/>
                  <a:gd name="T74" fmla="*/ 859 w 1112"/>
                  <a:gd name="T75" fmla="*/ 210 h 3055"/>
                  <a:gd name="T76" fmla="*/ 884 w 1112"/>
                  <a:gd name="T77" fmla="*/ 342 h 3055"/>
                  <a:gd name="T78" fmla="*/ 859 w 1112"/>
                  <a:gd name="T79" fmla="*/ 476 h 3055"/>
                  <a:gd name="T80" fmla="*/ 788 w 1112"/>
                  <a:gd name="T81" fmla="*/ 585 h 3055"/>
                  <a:gd name="T82" fmla="*/ 682 w 1112"/>
                  <a:gd name="T83" fmla="*/ 659 h 3055"/>
                  <a:gd name="T84" fmla="*/ 554 w 1112"/>
                  <a:gd name="T85" fmla="*/ 686 h 3055"/>
                  <a:gd name="T86" fmla="*/ 425 w 1112"/>
                  <a:gd name="T87" fmla="*/ 659 h 3055"/>
                  <a:gd name="T88" fmla="*/ 321 w 1112"/>
                  <a:gd name="T89" fmla="*/ 585 h 3055"/>
                  <a:gd name="T90" fmla="*/ 249 w 1112"/>
                  <a:gd name="T91" fmla="*/ 476 h 3055"/>
                  <a:gd name="T92" fmla="*/ 224 w 1112"/>
                  <a:gd name="T93" fmla="*/ 342 h 3055"/>
                  <a:gd name="T94" fmla="*/ 249 w 1112"/>
                  <a:gd name="T95" fmla="*/ 210 h 3055"/>
                  <a:gd name="T96" fmla="*/ 321 w 1112"/>
                  <a:gd name="T97" fmla="*/ 101 h 3055"/>
                  <a:gd name="T98" fmla="*/ 425 w 1112"/>
                  <a:gd name="T99" fmla="*/ 27 h 3055"/>
                  <a:gd name="T100" fmla="*/ 554 w 1112"/>
                  <a:gd name="T101" fmla="*/ 0 h 3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12" h="3055">
                    <a:moveTo>
                      <a:pt x="224" y="750"/>
                    </a:moveTo>
                    <a:lnTo>
                      <a:pt x="232" y="750"/>
                    </a:lnTo>
                    <a:lnTo>
                      <a:pt x="243" y="750"/>
                    </a:lnTo>
                    <a:lnTo>
                      <a:pt x="257" y="750"/>
                    </a:lnTo>
                    <a:lnTo>
                      <a:pt x="276" y="750"/>
                    </a:lnTo>
                    <a:lnTo>
                      <a:pt x="297" y="750"/>
                    </a:lnTo>
                    <a:lnTo>
                      <a:pt x="658" y="750"/>
                    </a:lnTo>
                    <a:lnTo>
                      <a:pt x="731" y="750"/>
                    </a:lnTo>
                    <a:lnTo>
                      <a:pt x="813" y="750"/>
                    </a:lnTo>
                    <a:lnTo>
                      <a:pt x="904" y="750"/>
                    </a:lnTo>
                    <a:lnTo>
                      <a:pt x="941" y="753"/>
                    </a:lnTo>
                    <a:lnTo>
                      <a:pt x="976" y="764"/>
                    </a:lnTo>
                    <a:lnTo>
                      <a:pt x="1008" y="780"/>
                    </a:lnTo>
                    <a:lnTo>
                      <a:pt x="1037" y="801"/>
                    </a:lnTo>
                    <a:lnTo>
                      <a:pt x="1062" y="827"/>
                    </a:lnTo>
                    <a:lnTo>
                      <a:pt x="1083" y="858"/>
                    </a:lnTo>
                    <a:lnTo>
                      <a:pt x="1098" y="890"/>
                    </a:lnTo>
                    <a:lnTo>
                      <a:pt x="1109" y="926"/>
                    </a:lnTo>
                    <a:lnTo>
                      <a:pt x="1112" y="964"/>
                    </a:lnTo>
                    <a:lnTo>
                      <a:pt x="1112" y="964"/>
                    </a:lnTo>
                    <a:lnTo>
                      <a:pt x="1112" y="965"/>
                    </a:lnTo>
                    <a:lnTo>
                      <a:pt x="1112" y="967"/>
                    </a:lnTo>
                    <a:lnTo>
                      <a:pt x="1112" y="969"/>
                    </a:lnTo>
                    <a:lnTo>
                      <a:pt x="1112" y="972"/>
                    </a:lnTo>
                    <a:lnTo>
                      <a:pt x="1112" y="978"/>
                    </a:lnTo>
                    <a:lnTo>
                      <a:pt x="1112" y="1394"/>
                    </a:lnTo>
                    <a:lnTo>
                      <a:pt x="1112" y="1466"/>
                    </a:lnTo>
                    <a:lnTo>
                      <a:pt x="1112" y="1543"/>
                    </a:lnTo>
                    <a:lnTo>
                      <a:pt x="1112" y="1724"/>
                    </a:lnTo>
                    <a:lnTo>
                      <a:pt x="1112" y="1826"/>
                    </a:lnTo>
                    <a:lnTo>
                      <a:pt x="1112" y="1939"/>
                    </a:lnTo>
                    <a:lnTo>
                      <a:pt x="1109" y="1976"/>
                    </a:lnTo>
                    <a:lnTo>
                      <a:pt x="1098" y="2012"/>
                    </a:lnTo>
                    <a:lnTo>
                      <a:pt x="1083" y="2046"/>
                    </a:lnTo>
                    <a:lnTo>
                      <a:pt x="1062" y="2076"/>
                    </a:lnTo>
                    <a:lnTo>
                      <a:pt x="1037" y="2101"/>
                    </a:lnTo>
                    <a:lnTo>
                      <a:pt x="1008" y="2123"/>
                    </a:lnTo>
                    <a:lnTo>
                      <a:pt x="976" y="2140"/>
                    </a:lnTo>
                    <a:lnTo>
                      <a:pt x="941" y="2149"/>
                    </a:lnTo>
                    <a:lnTo>
                      <a:pt x="904" y="2152"/>
                    </a:lnTo>
                    <a:lnTo>
                      <a:pt x="904" y="2842"/>
                    </a:lnTo>
                    <a:lnTo>
                      <a:pt x="900" y="2879"/>
                    </a:lnTo>
                    <a:lnTo>
                      <a:pt x="891" y="2915"/>
                    </a:lnTo>
                    <a:lnTo>
                      <a:pt x="877" y="2948"/>
                    </a:lnTo>
                    <a:lnTo>
                      <a:pt x="857" y="2978"/>
                    </a:lnTo>
                    <a:lnTo>
                      <a:pt x="833" y="3004"/>
                    </a:lnTo>
                    <a:lnTo>
                      <a:pt x="805" y="3026"/>
                    </a:lnTo>
                    <a:lnTo>
                      <a:pt x="774" y="3042"/>
                    </a:lnTo>
                    <a:lnTo>
                      <a:pt x="740" y="3052"/>
                    </a:lnTo>
                    <a:lnTo>
                      <a:pt x="703" y="3055"/>
                    </a:lnTo>
                    <a:lnTo>
                      <a:pt x="702" y="3055"/>
                    </a:lnTo>
                    <a:lnTo>
                      <a:pt x="700" y="3055"/>
                    </a:lnTo>
                    <a:lnTo>
                      <a:pt x="696" y="3055"/>
                    </a:lnTo>
                    <a:lnTo>
                      <a:pt x="623" y="3055"/>
                    </a:lnTo>
                    <a:lnTo>
                      <a:pt x="594" y="3055"/>
                    </a:lnTo>
                    <a:lnTo>
                      <a:pt x="560" y="3055"/>
                    </a:lnTo>
                    <a:lnTo>
                      <a:pt x="408" y="3055"/>
                    </a:lnTo>
                    <a:lnTo>
                      <a:pt x="372" y="3052"/>
                    </a:lnTo>
                    <a:lnTo>
                      <a:pt x="337" y="3042"/>
                    </a:lnTo>
                    <a:lnTo>
                      <a:pt x="306" y="3026"/>
                    </a:lnTo>
                    <a:lnTo>
                      <a:pt x="278" y="3004"/>
                    </a:lnTo>
                    <a:lnTo>
                      <a:pt x="255" y="2978"/>
                    </a:lnTo>
                    <a:lnTo>
                      <a:pt x="235" y="2948"/>
                    </a:lnTo>
                    <a:lnTo>
                      <a:pt x="220" y="2915"/>
                    </a:lnTo>
                    <a:lnTo>
                      <a:pt x="211" y="2879"/>
                    </a:lnTo>
                    <a:lnTo>
                      <a:pt x="208" y="2842"/>
                    </a:lnTo>
                    <a:lnTo>
                      <a:pt x="208" y="2785"/>
                    </a:lnTo>
                    <a:lnTo>
                      <a:pt x="208" y="2765"/>
                    </a:lnTo>
                    <a:lnTo>
                      <a:pt x="208" y="2741"/>
                    </a:lnTo>
                    <a:lnTo>
                      <a:pt x="208" y="2152"/>
                    </a:lnTo>
                    <a:lnTo>
                      <a:pt x="171" y="2149"/>
                    </a:lnTo>
                    <a:lnTo>
                      <a:pt x="137" y="2140"/>
                    </a:lnTo>
                    <a:lnTo>
                      <a:pt x="104" y="2123"/>
                    </a:lnTo>
                    <a:lnTo>
                      <a:pt x="75" y="2101"/>
                    </a:lnTo>
                    <a:lnTo>
                      <a:pt x="50" y="2076"/>
                    </a:lnTo>
                    <a:lnTo>
                      <a:pt x="29" y="2046"/>
                    </a:lnTo>
                    <a:lnTo>
                      <a:pt x="13" y="2012"/>
                    </a:lnTo>
                    <a:lnTo>
                      <a:pt x="3" y="1976"/>
                    </a:lnTo>
                    <a:lnTo>
                      <a:pt x="0" y="1939"/>
                    </a:lnTo>
                    <a:lnTo>
                      <a:pt x="0" y="1939"/>
                    </a:lnTo>
                    <a:lnTo>
                      <a:pt x="0" y="1938"/>
                    </a:lnTo>
                    <a:lnTo>
                      <a:pt x="0" y="1934"/>
                    </a:lnTo>
                    <a:lnTo>
                      <a:pt x="0" y="1930"/>
                    </a:lnTo>
                    <a:lnTo>
                      <a:pt x="0" y="1924"/>
                    </a:lnTo>
                    <a:lnTo>
                      <a:pt x="0" y="1508"/>
                    </a:lnTo>
                    <a:lnTo>
                      <a:pt x="0" y="1438"/>
                    </a:lnTo>
                    <a:lnTo>
                      <a:pt x="0" y="1359"/>
                    </a:lnTo>
                    <a:lnTo>
                      <a:pt x="0" y="1179"/>
                    </a:lnTo>
                    <a:lnTo>
                      <a:pt x="0" y="1076"/>
                    </a:lnTo>
                    <a:lnTo>
                      <a:pt x="0" y="964"/>
                    </a:lnTo>
                    <a:lnTo>
                      <a:pt x="3" y="926"/>
                    </a:lnTo>
                    <a:lnTo>
                      <a:pt x="13" y="890"/>
                    </a:lnTo>
                    <a:lnTo>
                      <a:pt x="29" y="858"/>
                    </a:lnTo>
                    <a:lnTo>
                      <a:pt x="50" y="827"/>
                    </a:lnTo>
                    <a:lnTo>
                      <a:pt x="75" y="801"/>
                    </a:lnTo>
                    <a:lnTo>
                      <a:pt x="104" y="780"/>
                    </a:lnTo>
                    <a:lnTo>
                      <a:pt x="137" y="764"/>
                    </a:lnTo>
                    <a:lnTo>
                      <a:pt x="171" y="753"/>
                    </a:lnTo>
                    <a:lnTo>
                      <a:pt x="208" y="750"/>
                    </a:lnTo>
                    <a:lnTo>
                      <a:pt x="208" y="750"/>
                    </a:lnTo>
                    <a:lnTo>
                      <a:pt x="208" y="750"/>
                    </a:lnTo>
                    <a:lnTo>
                      <a:pt x="210" y="750"/>
                    </a:lnTo>
                    <a:lnTo>
                      <a:pt x="217" y="750"/>
                    </a:lnTo>
                    <a:lnTo>
                      <a:pt x="224" y="750"/>
                    </a:lnTo>
                    <a:close/>
                    <a:moveTo>
                      <a:pt x="554" y="0"/>
                    </a:moveTo>
                    <a:lnTo>
                      <a:pt x="599" y="4"/>
                    </a:lnTo>
                    <a:lnTo>
                      <a:pt x="642" y="13"/>
                    </a:lnTo>
                    <a:lnTo>
                      <a:pt x="682" y="27"/>
                    </a:lnTo>
                    <a:lnTo>
                      <a:pt x="721" y="48"/>
                    </a:lnTo>
                    <a:lnTo>
                      <a:pt x="755" y="72"/>
                    </a:lnTo>
                    <a:lnTo>
                      <a:pt x="788" y="101"/>
                    </a:lnTo>
                    <a:lnTo>
                      <a:pt x="816" y="134"/>
                    </a:lnTo>
                    <a:lnTo>
                      <a:pt x="839" y="170"/>
                    </a:lnTo>
                    <a:lnTo>
                      <a:pt x="859" y="210"/>
                    </a:lnTo>
                    <a:lnTo>
                      <a:pt x="872" y="252"/>
                    </a:lnTo>
                    <a:lnTo>
                      <a:pt x="882" y="296"/>
                    </a:lnTo>
                    <a:lnTo>
                      <a:pt x="884" y="342"/>
                    </a:lnTo>
                    <a:lnTo>
                      <a:pt x="882" y="390"/>
                    </a:lnTo>
                    <a:lnTo>
                      <a:pt x="872" y="434"/>
                    </a:lnTo>
                    <a:lnTo>
                      <a:pt x="859" y="476"/>
                    </a:lnTo>
                    <a:lnTo>
                      <a:pt x="839" y="516"/>
                    </a:lnTo>
                    <a:lnTo>
                      <a:pt x="816" y="552"/>
                    </a:lnTo>
                    <a:lnTo>
                      <a:pt x="788" y="585"/>
                    </a:lnTo>
                    <a:lnTo>
                      <a:pt x="755" y="614"/>
                    </a:lnTo>
                    <a:lnTo>
                      <a:pt x="721" y="638"/>
                    </a:lnTo>
                    <a:lnTo>
                      <a:pt x="682" y="659"/>
                    </a:lnTo>
                    <a:lnTo>
                      <a:pt x="642" y="673"/>
                    </a:lnTo>
                    <a:lnTo>
                      <a:pt x="599" y="682"/>
                    </a:lnTo>
                    <a:lnTo>
                      <a:pt x="554" y="686"/>
                    </a:lnTo>
                    <a:lnTo>
                      <a:pt x="509" y="682"/>
                    </a:lnTo>
                    <a:lnTo>
                      <a:pt x="466" y="673"/>
                    </a:lnTo>
                    <a:lnTo>
                      <a:pt x="425" y="659"/>
                    </a:lnTo>
                    <a:lnTo>
                      <a:pt x="387" y="638"/>
                    </a:lnTo>
                    <a:lnTo>
                      <a:pt x="352" y="614"/>
                    </a:lnTo>
                    <a:lnTo>
                      <a:pt x="321" y="585"/>
                    </a:lnTo>
                    <a:lnTo>
                      <a:pt x="292" y="552"/>
                    </a:lnTo>
                    <a:lnTo>
                      <a:pt x="269" y="516"/>
                    </a:lnTo>
                    <a:lnTo>
                      <a:pt x="249" y="476"/>
                    </a:lnTo>
                    <a:lnTo>
                      <a:pt x="235" y="434"/>
                    </a:lnTo>
                    <a:lnTo>
                      <a:pt x="227" y="390"/>
                    </a:lnTo>
                    <a:lnTo>
                      <a:pt x="224" y="342"/>
                    </a:lnTo>
                    <a:lnTo>
                      <a:pt x="227" y="296"/>
                    </a:lnTo>
                    <a:lnTo>
                      <a:pt x="235" y="252"/>
                    </a:lnTo>
                    <a:lnTo>
                      <a:pt x="249" y="210"/>
                    </a:lnTo>
                    <a:lnTo>
                      <a:pt x="269" y="170"/>
                    </a:lnTo>
                    <a:lnTo>
                      <a:pt x="292" y="134"/>
                    </a:lnTo>
                    <a:lnTo>
                      <a:pt x="321" y="101"/>
                    </a:lnTo>
                    <a:lnTo>
                      <a:pt x="352" y="72"/>
                    </a:lnTo>
                    <a:lnTo>
                      <a:pt x="387" y="48"/>
                    </a:lnTo>
                    <a:lnTo>
                      <a:pt x="425" y="27"/>
                    </a:lnTo>
                    <a:lnTo>
                      <a:pt x="466" y="13"/>
                    </a:lnTo>
                    <a:lnTo>
                      <a:pt x="509" y="4"/>
                    </a:lnTo>
                    <a:lnTo>
                      <a:pt x="554"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71" name="Freeform 232">
                <a:extLst>
                  <a:ext uri="{FF2B5EF4-FFF2-40B4-BE49-F238E27FC236}">
                    <a16:creationId xmlns:a16="http://schemas.microsoft.com/office/drawing/2014/main" id="{75F7BBA5-7188-4847-8ECF-CF8AF4F28AB0}"/>
                  </a:ext>
                </a:extLst>
              </p:cNvPr>
              <p:cNvSpPr>
                <a:spLocks noEditPoints="1"/>
              </p:cNvSpPr>
              <p:nvPr/>
            </p:nvSpPr>
            <p:spPr bwMode="auto">
              <a:xfrm>
                <a:off x="7994650" y="62863"/>
                <a:ext cx="815976" cy="508001"/>
              </a:xfrm>
              <a:custGeom>
                <a:avLst/>
                <a:gdLst>
                  <a:gd name="T0" fmla="*/ 1215 w 2054"/>
                  <a:gd name="T1" fmla="*/ 148 h 1281"/>
                  <a:gd name="T2" fmla="*/ 1087 w 2054"/>
                  <a:gd name="T3" fmla="*/ 264 h 1281"/>
                  <a:gd name="T4" fmla="*/ 1014 w 2054"/>
                  <a:gd name="T5" fmla="*/ 358 h 1281"/>
                  <a:gd name="T6" fmla="*/ 868 w 2054"/>
                  <a:gd name="T7" fmla="*/ 293 h 1281"/>
                  <a:gd name="T8" fmla="*/ 701 w 2054"/>
                  <a:gd name="T9" fmla="*/ 316 h 1281"/>
                  <a:gd name="T10" fmla="*/ 577 w 2054"/>
                  <a:gd name="T11" fmla="*/ 419 h 1281"/>
                  <a:gd name="T12" fmla="*/ 525 w 2054"/>
                  <a:gd name="T13" fmla="*/ 579 h 1281"/>
                  <a:gd name="T14" fmla="*/ 417 w 2054"/>
                  <a:gd name="T15" fmla="*/ 553 h 1281"/>
                  <a:gd name="T16" fmla="*/ 253 w 2054"/>
                  <a:gd name="T17" fmla="*/ 603 h 1281"/>
                  <a:gd name="T18" fmla="*/ 143 w 2054"/>
                  <a:gd name="T19" fmla="*/ 732 h 1281"/>
                  <a:gd name="T20" fmla="*/ 118 w 2054"/>
                  <a:gd name="T21" fmla="*/ 902 h 1281"/>
                  <a:gd name="T22" fmla="*/ 190 w 2054"/>
                  <a:gd name="T23" fmla="*/ 1057 h 1281"/>
                  <a:gd name="T24" fmla="*/ 331 w 2054"/>
                  <a:gd name="T25" fmla="*/ 1151 h 1281"/>
                  <a:gd name="T26" fmla="*/ 485 w 2054"/>
                  <a:gd name="T27" fmla="*/ 1163 h 1281"/>
                  <a:gd name="T28" fmla="*/ 682 w 2054"/>
                  <a:gd name="T29" fmla="*/ 1163 h 1281"/>
                  <a:gd name="T30" fmla="*/ 1503 w 2054"/>
                  <a:gd name="T31" fmla="*/ 1163 h 1281"/>
                  <a:gd name="T32" fmla="*/ 1621 w 2054"/>
                  <a:gd name="T33" fmla="*/ 1163 h 1281"/>
                  <a:gd name="T34" fmla="*/ 1725 w 2054"/>
                  <a:gd name="T35" fmla="*/ 1151 h 1281"/>
                  <a:gd name="T36" fmla="*/ 1865 w 2054"/>
                  <a:gd name="T37" fmla="*/ 1057 h 1281"/>
                  <a:gd name="T38" fmla="*/ 1935 w 2054"/>
                  <a:gd name="T39" fmla="*/ 902 h 1281"/>
                  <a:gd name="T40" fmla="*/ 1911 w 2054"/>
                  <a:gd name="T41" fmla="*/ 732 h 1281"/>
                  <a:gd name="T42" fmla="*/ 1803 w 2054"/>
                  <a:gd name="T43" fmla="*/ 603 h 1281"/>
                  <a:gd name="T44" fmla="*/ 1637 w 2054"/>
                  <a:gd name="T45" fmla="*/ 553 h 1281"/>
                  <a:gd name="T46" fmla="*/ 1624 w 2054"/>
                  <a:gd name="T47" fmla="*/ 530 h 1281"/>
                  <a:gd name="T48" fmla="*/ 1634 w 2054"/>
                  <a:gd name="T49" fmla="*/ 377 h 1281"/>
                  <a:gd name="T50" fmla="*/ 1566 w 2054"/>
                  <a:gd name="T51" fmla="*/ 224 h 1281"/>
                  <a:gd name="T52" fmla="*/ 1430 w 2054"/>
                  <a:gd name="T53" fmla="*/ 131 h 1281"/>
                  <a:gd name="T54" fmla="*/ 1393 w 2054"/>
                  <a:gd name="T55" fmla="*/ 3 h 1281"/>
                  <a:gd name="T56" fmla="*/ 1564 w 2054"/>
                  <a:gd name="T57" fmla="*/ 66 h 1281"/>
                  <a:gd name="T58" fmla="*/ 1694 w 2054"/>
                  <a:gd name="T59" fmla="*/ 200 h 1281"/>
                  <a:gd name="T60" fmla="*/ 1752 w 2054"/>
                  <a:gd name="T61" fmla="*/ 374 h 1281"/>
                  <a:gd name="T62" fmla="*/ 1832 w 2054"/>
                  <a:gd name="T63" fmla="*/ 485 h 1281"/>
                  <a:gd name="T64" fmla="*/ 1966 w 2054"/>
                  <a:gd name="T65" fmla="*/ 598 h 1281"/>
                  <a:gd name="T66" fmla="*/ 2044 w 2054"/>
                  <a:gd name="T67" fmla="*/ 764 h 1281"/>
                  <a:gd name="T68" fmla="*/ 2044 w 2054"/>
                  <a:gd name="T69" fmla="*/ 951 h 1281"/>
                  <a:gd name="T70" fmla="*/ 1966 w 2054"/>
                  <a:gd name="T71" fmla="*/ 1118 h 1281"/>
                  <a:gd name="T72" fmla="*/ 1820 w 2054"/>
                  <a:gd name="T73" fmla="*/ 1238 h 1281"/>
                  <a:gd name="T74" fmla="*/ 1637 w 2054"/>
                  <a:gd name="T75" fmla="*/ 1281 h 1281"/>
                  <a:gd name="T76" fmla="*/ 1432 w 2054"/>
                  <a:gd name="T77" fmla="*/ 1281 h 1281"/>
                  <a:gd name="T78" fmla="*/ 370 w 2054"/>
                  <a:gd name="T79" fmla="*/ 1277 h 1281"/>
                  <a:gd name="T80" fmla="*/ 198 w 2054"/>
                  <a:gd name="T81" fmla="*/ 1214 h 1281"/>
                  <a:gd name="T82" fmla="*/ 65 w 2054"/>
                  <a:gd name="T83" fmla="*/ 1080 h 1281"/>
                  <a:gd name="T84" fmla="*/ 2 w 2054"/>
                  <a:gd name="T85" fmla="*/ 905 h 1281"/>
                  <a:gd name="T86" fmla="*/ 23 w 2054"/>
                  <a:gd name="T87" fmla="*/ 720 h 1281"/>
                  <a:gd name="T88" fmla="*/ 124 w 2054"/>
                  <a:gd name="T89" fmla="*/ 562 h 1281"/>
                  <a:gd name="T90" fmla="*/ 280 w 2054"/>
                  <a:gd name="T91" fmla="*/ 460 h 1281"/>
                  <a:gd name="T92" fmla="*/ 435 w 2054"/>
                  <a:gd name="T93" fmla="*/ 436 h 1281"/>
                  <a:gd name="T94" fmla="*/ 535 w 2054"/>
                  <a:gd name="T95" fmla="*/ 287 h 1281"/>
                  <a:gd name="T96" fmla="*/ 688 w 2054"/>
                  <a:gd name="T97" fmla="*/ 195 h 1281"/>
                  <a:gd name="T98" fmla="*/ 866 w 2054"/>
                  <a:gd name="T99" fmla="*/ 175 h 1281"/>
                  <a:gd name="T100" fmla="*/ 1012 w 2054"/>
                  <a:gd name="T101" fmla="*/ 166 h 1281"/>
                  <a:gd name="T102" fmla="*/ 1158 w 2054"/>
                  <a:gd name="T103" fmla="*/ 45 h 1281"/>
                  <a:gd name="T104" fmla="*/ 1346 w 2054"/>
                  <a:gd name="T105" fmla="*/ 0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54" h="1281">
                    <a:moveTo>
                      <a:pt x="1346" y="117"/>
                    </a:moveTo>
                    <a:lnTo>
                      <a:pt x="1300" y="120"/>
                    </a:lnTo>
                    <a:lnTo>
                      <a:pt x="1256" y="131"/>
                    </a:lnTo>
                    <a:lnTo>
                      <a:pt x="1215" y="148"/>
                    </a:lnTo>
                    <a:lnTo>
                      <a:pt x="1177" y="170"/>
                    </a:lnTo>
                    <a:lnTo>
                      <a:pt x="1142" y="197"/>
                    </a:lnTo>
                    <a:lnTo>
                      <a:pt x="1112" y="228"/>
                    </a:lnTo>
                    <a:lnTo>
                      <a:pt x="1087" y="264"/>
                    </a:lnTo>
                    <a:lnTo>
                      <a:pt x="1067" y="302"/>
                    </a:lnTo>
                    <a:lnTo>
                      <a:pt x="1052" y="344"/>
                    </a:lnTo>
                    <a:lnTo>
                      <a:pt x="1045" y="387"/>
                    </a:lnTo>
                    <a:lnTo>
                      <a:pt x="1014" y="358"/>
                    </a:lnTo>
                    <a:lnTo>
                      <a:pt x="981" y="334"/>
                    </a:lnTo>
                    <a:lnTo>
                      <a:pt x="945" y="315"/>
                    </a:lnTo>
                    <a:lnTo>
                      <a:pt x="908" y="301"/>
                    </a:lnTo>
                    <a:lnTo>
                      <a:pt x="868" y="293"/>
                    </a:lnTo>
                    <a:lnTo>
                      <a:pt x="825" y="290"/>
                    </a:lnTo>
                    <a:lnTo>
                      <a:pt x="781" y="293"/>
                    </a:lnTo>
                    <a:lnTo>
                      <a:pt x="740" y="301"/>
                    </a:lnTo>
                    <a:lnTo>
                      <a:pt x="701" y="316"/>
                    </a:lnTo>
                    <a:lnTo>
                      <a:pt x="665" y="335"/>
                    </a:lnTo>
                    <a:lnTo>
                      <a:pt x="631" y="359"/>
                    </a:lnTo>
                    <a:lnTo>
                      <a:pt x="602" y="387"/>
                    </a:lnTo>
                    <a:lnTo>
                      <a:pt x="577" y="419"/>
                    </a:lnTo>
                    <a:lnTo>
                      <a:pt x="556" y="454"/>
                    </a:lnTo>
                    <a:lnTo>
                      <a:pt x="540" y="493"/>
                    </a:lnTo>
                    <a:lnTo>
                      <a:pt x="529" y="535"/>
                    </a:lnTo>
                    <a:lnTo>
                      <a:pt x="525" y="579"/>
                    </a:lnTo>
                    <a:lnTo>
                      <a:pt x="499" y="568"/>
                    </a:lnTo>
                    <a:lnTo>
                      <a:pt x="474" y="560"/>
                    </a:lnTo>
                    <a:lnTo>
                      <a:pt x="446" y="554"/>
                    </a:lnTo>
                    <a:lnTo>
                      <a:pt x="417" y="553"/>
                    </a:lnTo>
                    <a:lnTo>
                      <a:pt x="373" y="557"/>
                    </a:lnTo>
                    <a:lnTo>
                      <a:pt x="331" y="566"/>
                    </a:lnTo>
                    <a:lnTo>
                      <a:pt x="291" y="582"/>
                    </a:lnTo>
                    <a:lnTo>
                      <a:pt x="253" y="603"/>
                    </a:lnTo>
                    <a:lnTo>
                      <a:pt x="220" y="630"/>
                    </a:lnTo>
                    <a:lnTo>
                      <a:pt x="190" y="660"/>
                    </a:lnTo>
                    <a:lnTo>
                      <a:pt x="164" y="693"/>
                    </a:lnTo>
                    <a:lnTo>
                      <a:pt x="143" y="732"/>
                    </a:lnTo>
                    <a:lnTo>
                      <a:pt x="128" y="771"/>
                    </a:lnTo>
                    <a:lnTo>
                      <a:pt x="118" y="814"/>
                    </a:lnTo>
                    <a:lnTo>
                      <a:pt x="114" y="858"/>
                    </a:lnTo>
                    <a:lnTo>
                      <a:pt x="118" y="902"/>
                    </a:lnTo>
                    <a:lnTo>
                      <a:pt x="128" y="945"/>
                    </a:lnTo>
                    <a:lnTo>
                      <a:pt x="143" y="986"/>
                    </a:lnTo>
                    <a:lnTo>
                      <a:pt x="164" y="1023"/>
                    </a:lnTo>
                    <a:lnTo>
                      <a:pt x="190" y="1057"/>
                    </a:lnTo>
                    <a:lnTo>
                      <a:pt x="220" y="1088"/>
                    </a:lnTo>
                    <a:lnTo>
                      <a:pt x="253" y="1113"/>
                    </a:lnTo>
                    <a:lnTo>
                      <a:pt x="291" y="1134"/>
                    </a:lnTo>
                    <a:lnTo>
                      <a:pt x="331" y="1151"/>
                    </a:lnTo>
                    <a:lnTo>
                      <a:pt x="373" y="1160"/>
                    </a:lnTo>
                    <a:lnTo>
                      <a:pt x="417" y="1163"/>
                    </a:lnTo>
                    <a:lnTo>
                      <a:pt x="448" y="1163"/>
                    </a:lnTo>
                    <a:lnTo>
                      <a:pt x="485" y="1163"/>
                    </a:lnTo>
                    <a:lnTo>
                      <a:pt x="528" y="1163"/>
                    </a:lnTo>
                    <a:lnTo>
                      <a:pt x="576" y="1163"/>
                    </a:lnTo>
                    <a:lnTo>
                      <a:pt x="627" y="1163"/>
                    </a:lnTo>
                    <a:lnTo>
                      <a:pt x="682" y="1163"/>
                    </a:lnTo>
                    <a:lnTo>
                      <a:pt x="1243" y="1163"/>
                    </a:lnTo>
                    <a:lnTo>
                      <a:pt x="1301" y="1163"/>
                    </a:lnTo>
                    <a:lnTo>
                      <a:pt x="1358" y="1163"/>
                    </a:lnTo>
                    <a:lnTo>
                      <a:pt x="1503" y="1163"/>
                    </a:lnTo>
                    <a:lnTo>
                      <a:pt x="1541" y="1163"/>
                    </a:lnTo>
                    <a:lnTo>
                      <a:pt x="1574" y="1163"/>
                    </a:lnTo>
                    <a:lnTo>
                      <a:pt x="1601" y="1163"/>
                    </a:lnTo>
                    <a:lnTo>
                      <a:pt x="1621" y="1163"/>
                    </a:lnTo>
                    <a:lnTo>
                      <a:pt x="1634" y="1163"/>
                    </a:lnTo>
                    <a:lnTo>
                      <a:pt x="1637" y="1163"/>
                    </a:lnTo>
                    <a:lnTo>
                      <a:pt x="1682" y="1160"/>
                    </a:lnTo>
                    <a:lnTo>
                      <a:pt x="1725" y="1151"/>
                    </a:lnTo>
                    <a:lnTo>
                      <a:pt x="1766" y="1134"/>
                    </a:lnTo>
                    <a:lnTo>
                      <a:pt x="1803" y="1113"/>
                    </a:lnTo>
                    <a:lnTo>
                      <a:pt x="1836" y="1088"/>
                    </a:lnTo>
                    <a:lnTo>
                      <a:pt x="1865" y="1057"/>
                    </a:lnTo>
                    <a:lnTo>
                      <a:pt x="1890" y="1023"/>
                    </a:lnTo>
                    <a:lnTo>
                      <a:pt x="1911" y="986"/>
                    </a:lnTo>
                    <a:lnTo>
                      <a:pt x="1926" y="945"/>
                    </a:lnTo>
                    <a:lnTo>
                      <a:pt x="1935" y="902"/>
                    </a:lnTo>
                    <a:lnTo>
                      <a:pt x="1937" y="858"/>
                    </a:lnTo>
                    <a:lnTo>
                      <a:pt x="1935" y="814"/>
                    </a:lnTo>
                    <a:lnTo>
                      <a:pt x="1926" y="771"/>
                    </a:lnTo>
                    <a:lnTo>
                      <a:pt x="1911" y="732"/>
                    </a:lnTo>
                    <a:lnTo>
                      <a:pt x="1890" y="693"/>
                    </a:lnTo>
                    <a:lnTo>
                      <a:pt x="1865" y="660"/>
                    </a:lnTo>
                    <a:lnTo>
                      <a:pt x="1836" y="630"/>
                    </a:lnTo>
                    <a:lnTo>
                      <a:pt x="1803" y="603"/>
                    </a:lnTo>
                    <a:lnTo>
                      <a:pt x="1766" y="582"/>
                    </a:lnTo>
                    <a:lnTo>
                      <a:pt x="1725" y="566"/>
                    </a:lnTo>
                    <a:lnTo>
                      <a:pt x="1682" y="557"/>
                    </a:lnTo>
                    <a:lnTo>
                      <a:pt x="1637" y="553"/>
                    </a:lnTo>
                    <a:lnTo>
                      <a:pt x="1629" y="553"/>
                    </a:lnTo>
                    <a:lnTo>
                      <a:pt x="1621" y="555"/>
                    </a:lnTo>
                    <a:lnTo>
                      <a:pt x="1613" y="562"/>
                    </a:lnTo>
                    <a:lnTo>
                      <a:pt x="1624" y="530"/>
                    </a:lnTo>
                    <a:lnTo>
                      <a:pt x="1631" y="495"/>
                    </a:lnTo>
                    <a:lnTo>
                      <a:pt x="1636" y="459"/>
                    </a:lnTo>
                    <a:lnTo>
                      <a:pt x="1637" y="421"/>
                    </a:lnTo>
                    <a:lnTo>
                      <a:pt x="1634" y="377"/>
                    </a:lnTo>
                    <a:lnTo>
                      <a:pt x="1625" y="335"/>
                    </a:lnTo>
                    <a:lnTo>
                      <a:pt x="1610" y="294"/>
                    </a:lnTo>
                    <a:lnTo>
                      <a:pt x="1591" y="257"/>
                    </a:lnTo>
                    <a:lnTo>
                      <a:pt x="1566" y="224"/>
                    </a:lnTo>
                    <a:lnTo>
                      <a:pt x="1537" y="192"/>
                    </a:lnTo>
                    <a:lnTo>
                      <a:pt x="1505" y="167"/>
                    </a:lnTo>
                    <a:lnTo>
                      <a:pt x="1469" y="146"/>
                    </a:lnTo>
                    <a:lnTo>
                      <a:pt x="1430" y="131"/>
                    </a:lnTo>
                    <a:lnTo>
                      <a:pt x="1389" y="120"/>
                    </a:lnTo>
                    <a:lnTo>
                      <a:pt x="1346" y="117"/>
                    </a:lnTo>
                    <a:close/>
                    <a:moveTo>
                      <a:pt x="1346" y="0"/>
                    </a:moveTo>
                    <a:lnTo>
                      <a:pt x="1393" y="3"/>
                    </a:lnTo>
                    <a:lnTo>
                      <a:pt x="1437" y="11"/>
                    </a:lnTo>
                    <a:lnTo>
                      <a:pt x="1481" y="24"/>
                    </a:lnTo>
                    <a:lnTo>
                      <a:pt x="1523" y="43"/>
                    </a:lnTo>
                    <a:lnTo>
                      <a:pt x="1564" y="66"/>
                    </a:lnTo>
                    <a:lnTo>
                      <a:pt x="1602" y="94"/>
                    </a:lnTo>
                    <a:lnTo>
                      <a:pt x="1637" y="126"/>
                    </a:lnTo>
                    <a:lnTo>
                      <a:pt x="1667" y="162"/>
                    </a:lnTo>
                    <a:lnTo>
                      <a:pt x="1694" y="200"/>
                    </a:lnTo>
                    <a:lnTo>
                      <a:pt x="1715" y="241"/>
                    </a:lnTo>
                    <a:lnTo>
                      <a:pt x="1732" y="284"/>
                    </a:lnTo>
                    <a:lnTo>
                      <a:pt x="1744" y="329"/>
                    </a:lnTo>
                    <a:lnTo>
                      <a:pt x="1752" y="374"/>
                    </a:lnTo>
                    <a:lnTo>
                      <a:pt x="1754" y="421"/>
                    </a:lnTo>
                    <a:lnTo>
                      <a:pt x="1754" y="452"/>
                    </a:lnTo>
                    <a:lnTo>
                      <a:pt x="1793" y="466"/>
                    </a:lnTo>
                    <a:lnTo>
                      <a:pt x="1832" y="485"/>
                    </a:lnTo>
                    <a:lnTo>
                      <a:pt x="1869" y="507"/>
                    </a:lnTo>
                    <a:lnTo>
                      <a:pt x="1904" y="533"/>
                    </a:lnTo>
                    <a:lnTo>
                      <a:pt x="1936" y="564"/>
                    </a:lnTo>
                    <a:lnTo>
                      <a:pt x="1966" y="598"/>
                    </a:lnTo>
                    <a:lnTo>
                      <a:pt x="1993" y="637"/>
                    </a:lnTo>
                    <a:lnTo>
                      <a:pt x="2015" y="677"/>
                    </a:lnTo>
                    <a:lnTo>
                      <a:pt x="2032" y="720"/>
                    </a:lnTo>
                    <a:lnTo>
                      <a:pt x="2044" y="764"/>
                    </a:lnTo>
                    <a:lnTo>
                      <a:pt x="2052" y="811"/>
                    </a:lnTo>
                    <a:lnTo>
                      <a:pt x="2054" y="858"/>
                    </a:lnTo>
                    <a:lnTo>
                      <a:pt x="2052" y="905"/>
                    </a:lnTo>
                    <a:lnTo>
                      <a:pt x="2044" y="951"/>
                    </a:lnTo>
                    <a:lnTo>
                      <a:pt x="2032" y="996"/>
                    </a:lnTo>
                    <a:lnTo>
                      <a:pt x="2015" y="1039"/>
                    </a:lnTo>
                    <a:lnTo>
                      <a:pt x="1993" y="1080"/>
                    </a:lnTo>
                    <a:lnTo>
                      <a:pt x="1966" y="1118"/>
                    </a:lnTo>
                    <a:lnTo>
                      <a:pt x="1936" y="1154"/>
                    </a:lnTo>
                    <a:lnTo>
                      <a:pt x="1900" y="1187"/>
                    </a:lnTo>
                    <a:lnTo>
                      <a:pt x="1862" y="1214"/>
                    </a:lnTo>
                    <a:lnTo>
                      <a:pt x="1820" y="1238"/>
                    </a:lnTo>
                    <a:lnTo>
                      <a:pt x="1777" y="1256"/>
                    </a:lnTo>
                    <a:lnTo>
                      <a:pt x="1732" y="1270"/>
                    </a:lnTo>
                    <a:lnTo>
                      <a:pt x="1686" y="1277"/>
                    </a:lnTo>
                    <a:lnTo>
                      <a:pt x="1637" y="1281"/>
                    </a:lnTo>
                    <a:lnTo>
                      <a:pt x="1634" y="1281"/>
                    </a:lnTo>
                    <a:lnTo>
                      <a:pt x="1631" y="1281"/>
                    </a:lnTo>
                    <a:lnTo>
                      <a:pt x="1627" y="1281"/>
                    </a:lnTo>
                    <a:lnTo>
                      <a:pt x="1432" y="1281"/>
                    </a:lnTo>
                    <a:lnTo>
                      <a:pt x="1391" y="1281"/>
                    </a:lnTo>
                    <a:lnTo>
                      <a:pt x="1345" y="1281"/>
                    </a:lnTo>
                    <a:lnTo>
                      <a:pt x="417" y="1281"/>
                    </a:lnTo>
                    <a:lnTo>
                      <a:pt x="370" y="1277"/>
                    </a:lnTo>
                    <a:lnTo>
                      <a:pt x="324" y="1270"/>
                    </a:lnTo>
                    <a:lnTo>
                      <a:pt x="280" y="1256"/>
                    </a:lnTo>
                    <a:lnTo>
                      <a:pt x="238" y="1238"/>
                    </a:lnTo>
                    <a:lnTo>
                      <a:pt x="198" y="1214"/>
                    </a:lnTo>
                    <a:lnTo>
                      <a:pt x="160" y="1187"/>
                    </a:lnTo>
                    <a:lnTo>
                      <a:pt x="124" y="1154"/>
                    </a:lnTo>
                    <a:lnTo>
                      <a:pt x="91" y="1118"/>
                    </a:lnTo>
                    <a:lnTo>
                      <a:pt x="65" y="1080"/>
                    </a:lnTo>
                    <a:lnTo>
                      <a:pt x="41" y="1039"/>
                    </a:lnTo>
                    <a:lnTo>
                      <a:pt x="23" y="996"/>
                    </a:lnTo>
                    <a:lnTo>
                      <a:pt x="10" y="951"/>
                    </a:lnTo>
                    <a:lnTo>
                      <a:pt x="2" y="905"/>
                    </a:lnTo>
                    <a:lnTo>
                      <a:pt x="0" y="858"/>
                    </a:lnTo>
                    <a:lnTo>
                      <a:pt x="2" y="811"/>
                    </a:lnTo>
                    <a:lnTo>
                      <a:pt x="10" y="764"/>
                    </a:lnTo>
                    <a:lnTo>
                      <a:pt x="23" y="720"/>
                    </a:lnTo>
                    <a:lnTo>
                      <a:pt x="41" y="677"/>
                    </a:lnTo>
                    <a:lnTo>
                      <a:pt x="65" y="635"/>
                    </a:lnTo>
                    <a:lnTo>
                      <a:pt x="91" y="597"/>
                    </a:lnTo>
                    <a:lnTo>
                      <a:pt x="124" y="562"/>
                    </a:lnTo>
                    <a:lnTo>
                      <a:pt x="160" y="530"/>
                    </a:lnTo>
                    <a:lnTo>
                      <a:pt x="198" y="502"/>
                    </a:lnTo>
                    <a:lnTo>
                      <a:pt x="238" y="479"/>
                    </a:lnTo>
                    <a:lnTo>
                      <a:pt x="280" y="460"/>
                    </a:lnTo>
                    <a:lnTo>
                      <a:pt x="324" y="446"/>
                    </a:lnTo>
                    <a:lnTo>
                      <a:pt x="370" y="438"/>
                    </a:lnTo>
                    <a:lnTo>
                      <a:pt x="417" y="436"/>
                    </a:lnTo>
                    <a:lnTo>
                      <a:pt x="435" y="436"/>
                    </a:lnTo>
                    <a:lnTo>
                      <a:pt x="454" y="395"/>
                    </a:lnTo>
                    <a:lnTo>
                      <a:pt x="477" y="356"/>
                    </a:lnTo>
                    <a:lnTo>
                      <a:pt x="504" y="320"/>
                    </a:lnTo>
                    <a:lnTo>
                      <a:pt x="535" y="287"/>
                    </a:lnTo>
                    <a:lnTo>
                      <a:pt x="570" y="258"/>
                    </a:lnTo>
                    <a:lnTo>
                      <a:pt x="607" y="233"/>
                    </a:lnTo>
                    <a:lnTo>
                      <a:pt x="646" y="212"/>
                    </a:lnTo>
                    <a:lnTo>
                      <a:pt x="688" y="195"/>
                    </a:lnTo>
                    <a:lnTo>
                      <a:pt x="732" y="183"/>
                    </a:lnTo>
                    <a:lnTo>
                      <a:pt x="777" y="176"/>
                    </a:lnTo>
                    <a:lnTo>
                      <a:pt x="825" y="174"/>
                    </a:lnTo>
                    <a:lnTo>
                      <a:pt x="866" y="175"/>
                    </a:lnTo>
                    <a:lnTo>
                      <a:pt x="908" y="181"/>
                    </a:lnTo>
                    <a:lnTo>
                      <a:pt x="948" y="191"/>
                    </a:lnTo>
                    <a:lnTo>
                      <a:pt x="986" y="205"/>
                    </a:lnTo>
                    <a:lnTo>
                      <a:pt x="1012" y="166"/>
                    </a:lnTo>
                    <a:lnTo>
                      <a:pt x="1044" y="130"/>
                    </a:lnTo>
                    <a:lnTo>
                      <a:pt x="1080" y="97"/>
                    </a:lnTo>
                    <a:lnTo>
                      <a:pt x="1118" y="69"/>
                    </a:lnTo>
                    <a:lnTo>
                      <a:pt x="1158" y="45"/>
                    </a:lnTo>
                    <a:lnTo>
                      <a:pt x="1202" y="26"/>
                    </a:lnTo>
                    <a:lnTo>
                      <a:pt x="1249" y="12"/>
                    </a:lnTo>
                    <a:lnTo>
                      <a:pt x="1296" y="3"/>
                    </a:lnTo>
                    <a:lnTo>
                      <a:pt x="1346"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72" name="Freeform 233">
                <a:extLst>
                  <a:ext uri="{FF2B5EF4-FFF2-40B4-BE49-F238E27FC236}">
                    <a16:creationId xmlns:a16="http://schemas.microsoft.com/office/drawing/2014/main" id="{AA7B37BB-0DF7-400A-8A17-12386FDBD9DF}"/>
                  </a:ext>
                </a:extLst>
              </p:cNvPr>
              <p:cNvSpPr>
                <a:spLocks noEditPoints="1"/>
              </p:cNvSpPr>
              <p:nvPr/>
            </p:nvSpPr>
            <p:spPr bwMode="auto">
              <a:xfrm>
                <a:off x="7294563" y="304800"/>
                <a:ext cx="608013" cy="479425"/>
              </a:xfrm>
              <a:custGeom>
                <a:avLst/>
                <a:gdLst>
                  <a:gd name="T0" fmla="*/ 81 w 1531"/>
                  <a:gd name="T1" fmla="*/ 880 h 1207"/>
                  <a:gd name="T2" fmla="*/ 1459 w 1531"/>
                  <a:gd name="T3" fmla="*/ 89 h 1207"/>
                  <a:gd name="T4" fmla="*/ 766 w 1531"/>
                  <a:gd name="T5" fmla="*/ 21 h 1207"/>
                  <a:gd name="T6" fmla="*/ 746 w 1531"/>
                  <a:gd name="T7" fmla="*/ 30 h 1207"/>
                  <a:gd name="T8" fmla="*/ 746 w 1531"/>
                  <a:gd name="T9" fmla="*/ 50 h 1207"/>
                  <a:gd name="T10" fmla="*/ 766 w 1531"/>
                  <a:gd name="T11" fmla="*/ 60 h 1207"/>
                  <a:gd name="T12" fmla="*/ 784 w 1531"/>
                  <a:gd name="T13" fmla="*/ 50 h 1207"/>
                  <a:gd name="T14" fmla="*/ 784 w 1531"/>
                  <a:gd name="T15" fmla="*/ 30 h 1207"/>
                  <a:gd name="T16" fmla="*/ 766 w 1531"/>
                  <a:gd name="T17" fmla="*/ 21 h 1207"/>
                  <a:gd name="T18" fmla="*/ 829 w 1531"/>
                  <a:gd name="T19" fmla="*/ 0 h 1207"/>
                  <a:gd name="T20" fmla="*/ 1424 w 1531"/>
                  <a:gd name="T21" fmla="*/ 0 h 1207"/>
                  <a:gd name="T22" fmla="*/ 1435 w 1531"/>
                  <a:gd name="T23" fmla="*/ 0 h 1207"/>
                  <a:gd name="T24" fmla="*/ 1442 w 1531"/>
                  <a:gd name="T25" fmla="*/ 0 h 1207"/>
                  <a:gd name="T26" fmla="*/ 1482 w 1531"/>
                  <a:gd name="T27" fmla="*/ 9 h 1207"/>
                  <a:gd name="T28" fmla="*/ 1512 w 1531"/>
                  <a:gd name="T29" fmla="*/ 34 h 1207"/>
                  <a:gd name="T30" fmla="*/ 1528 w 1531"/>
                  <a:gd name="T31" fmla="*/ 68 h 1207"/>
                  <a:gd name="T32" fmla="*/ 1531 w 1531"/>
                  <a:gd name="T33" fmla="*/ 879 h 1207"/>
                  <a:gd name="T34" fmla="*/ 1523 w 1531"/>
                  <a:gd name="T35" fmla="*/ 921 h 1207"/>
                  <a:gd name="T36" fmla="*/ 1499 w 1531"/>
                  <a:gd name="T37" fmla="*/ 955 h 1207"/>
                  <a:gd name="T38" fmla="*/ 1464 w 1531"/>
                  <a:gd name="T39" fmla="*/ 976 h 1207"/>
                  <a:gd name="T40" fmla="*/ 931 w 1531"/>
                  <a:gd name="T41" fmla="*/ 978 h 1207"/>
                  <a:gd name="T42" fmla="*/ 1128 w 1531"/>
                  <a:gd name="T43" fmla="*/ 1078 h 1207"/>
                  <a:gd name="T44" fmla="*/ 1199 w 1531"/>
                  <a:gd name="T45" fmla="*/ 1207 h 1207"/>
                  <a:gd name="T46" fmla="*/ 331 w 1531"/>
                  <a:gd name="T47" fmla="*/ 1176 h 1207"/>
                  <a:gd name="T48" fmla="*/ 592 w 1531"/>
                  <a:gd name="T49" fmla="*/ 1078 h 1207"/>
                  <a:gd name="T50" fmla="*/ 523 w 1531"/>
                  <a:gd name="T51" fmla="*/ 978 h 1207"/>
                  <a:gd name="T52" fmla="*/ 328 w 1531"/>
                  <a:gd name="T53" fmla="*/ 978 h 1207"/>
                  <a:gd name="T54" fmla="*/ 236 w 1531"/>
                  <a:gd name="T55" fmla="*/ 978 h 1207"/>
                  <a:gd name="T56" fmla="*/ 87 w 1531"/>
                  <a:gd name="T57" fmla="*/ 978 h 1207"/>
                  <a:gd name="T58" fmla="*/ 81 w 1531"/>
                  <a:gd name="T59" fmla="*/ 978 h 1207"/>
                  <a:gd name="T60" fmla="*/ 63 w 1531"/>
                  <a:gd name="T61" fmla="*/ 976 h 1207"/>
                  <a:gd name="T62" fmla="*/ 30 w 1531"/>
                  <a:gd name="T63" fmla="*/ 955 h 1207"/>
                  <a:gd name="T64" fmla="*/ 8 w 1531"/>
                  <a:gd name="T65" fmla="*/ 921 h 1207"/>
                  <a:gd name="T66" fmla="*/ 0 w 1531"/>
                  <a:gd name="T67" fmla="*/ 879 h 1207"/>
                  <a:gd name="T68" fmla="*/ 0 w 1531"/>
                  <a:gd name="T69" fmla="*/ 467 h 1207"/>
                  <a:gd name="T70" fmla="*/ 0 w 1531"/>
                  <a:gd name="T71" fmla="*/ 355 h 1207"/>
                  <a:gd name="T72" fmla="*/ 0 w 1531"/>
                  <a:gd name="T73" fmla="*/ 232 h 1207"/>
                  <a:gd name="T74" fmla="*/ 0 w 1531"/>
                  <a:gd name="T75" fmla="*/ 89 h 1207"/>
                  <a:gd name="T76" fmla="*/ 10 w 1531"/>
                  <a:gd name="T77" fmla="*/ 44 h 1207"/>
                  <a:gd name="T78" fmla="*/ 39 w 1531"/>
                  <a:gd name="T79" fmla="*/ 13 h 1207"/>
                  <a:gd name="T80" fmla="*/ 81 w 1531"/>
                  <a:gd name="T81" fmla="*/ 0 h 1207"/>
                  <a:gd name="T82" fmla="*/ 745 w 1531"/>
                  <a:gd name="T83" fmla="*/ 0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31" h="1207">
                    <a:moveTo>
                      <a:pt x="81" y="89"/>
                    </a:moveTo>
                    <a:lnTo>
                      <a:pt x="81" y="880"/>
                    </a:lnTo>
                    <a:lnTo>
                      <a:pt x="1459" y="880"/>
                    </a:lnTo>
                    <a:lnTo>
                      <a:pt x="1459" y="89"/>
                    </a:lnTo>
                    <a:lnTo>
                      <a:pt x="81" y="89"/>
                    </a:lnTo>
                    <a:close/>
                    <a:moveTo>
                      <a:pt x="766" y="21"/>
                    </a:moveTo>
                    <a:lnTo>
                      <a:pt x="754" y="23"/>
                    </a:lnTo>
                    <a:lnTo>
                      <a:pt x="746" y="30"/>
                    </a:lnTo>
                    <a:lnTo>
                      <a:pt x="743" y="40"/>
                    </a:lnTo>
                    <a:lnTo>
                      <a:pt x="746" y="50"/>
                    </a:lnTo>
                    <a:lnTo>
                      <a:pt x="754" y="57"/>
                    </a:lnTo>
                    <a:lnTo>
                      <a:pt x="766" y="60"/>
                    </a:lnTo>
                    <a:lnTo>
                      <a:pt x="776" y="57"/>
                    </a:lnTo>
                    <a:lnTo>
                      <a:pt x="784" y="50"/>
                    </a:lnTo>
                    <a:lnTo>
                      <a:pt x="788" y="40"/>
                    </a:lnTo>
                    <a:lnTo>
                      <a:pt x="784" y="30"/>
                    </a:lnTo>
                    <a:lnTo>
                      <a:pt x="776" y="23"/>
                    </a:lnTo>
                    <a:lnTo>
                      <a:pt x="766" y="21"/>
                    </a:lnTo>
                    <a:close/>
                    <a:moveTo>
                      <a:pt x="745" y="0"/>
                    </a:moveTo>
                    <a:lnTo>
                      <a:pt x="829" y="0"/>
                    </a:lnTo>
                    <a:lnTo>
                      <a:pt x="905" y="0"/>
                    </a:lnTo>
                    <a:lnTo>
                      <a:pt x="1424" y="0"/>
                    </a:lnTo>
                    <a:lnTo>
                      <a:pt x="1430" y="0"/>
                    </a:lnTo>
                    <a:lnTo>
                      <a:pt x="1435" y="0"/>
                    </a:lnTo>
                    <a:lnTo>
                      <a:pt x="1438" y="0"/>
                    </a:lnTo>
                    <a:lnTo>
                      <a:pt x="1442" y="0"/>
                    </a:lnTo>
                    <a:lnTo>
                      <a:pt x="1464" y="2"/>
                    </a:lnTo>
                    <a:lnTo>
                      <a:pt x="1482" y="9"/>
                    </a:lnTo>
                    <a:lnTo>
                      <a:pt x="1499" y="20"/>
                    </a:lnTo>
                    <a:lnTo>
                      <a:pt x="1512" y="34"/>
                    </a:lnTo>
                    <a:lnTo>
                      <a:pt x="1523" y="50"/>
                    </a:lnTo>
                    <a:lnTo>
                      <a:pt x="1528" y="68"/>
                    </a:lnTo>
                    <a:lnTo>
                      <a:pt x="1531" y="89"/>
                    </a:lnTo>
                    <a:lnTo>
                      <a:pt x="1531" y="879"/>
                    </a:lnTo>
                    <a:lnTo>
                      <a:pt x="1528" y="900"/>
                    </a:lnTo>
                    <a:lnTo>
                      <a:pt x="1523" y="921"/>
                    </a:lnTo>
                    <a:lnTo>
                      <a:pt x="1512" y="938"/>
                    </a:lnTo>
                    <a:lnTo>
                      <a:pt x="1499" y="955"/>
                    </a:lnTo>
                    <a:lnTo>
                      <a:pt x="1482" y="968"/>
                    </a:lnTo>
                    <a:lnTo>
                      <a:pt x="1464" y="976"/>
                    </a:lnTo>
                    <a:lnTo>
                      <a:pt x="1442" y="978"/>
                    </a:lnTo>
                    <a:lnTo>
                      <a:pt x="931" y="978"/>
                    </a:lnTo>
                    <a:lnTo>
                      <a:pt x="931" y="1078"/>
                    </a:lnTo>
                    <a:lnTo>
                      <a:pt x="1128" y="1078"/>
                    </a:lnTo>
                    <a:lnTo>
                      <a:pt x="1199" y="1176"/>
                    </a:lnTo>
                    <a:lnTo>
                      <a:pt x="1199" y="1207"/>
                    </a:lnTo>
                    <a:lnTo>
                      <a:pt x="331" y="1207"/>
                    </a:lnTo>
                    <a:lnTo>
                      <a:pt x="331" y="1176"/>
                    </a:lnTo>
                    <a:lnTo>
                      <a:pt x="403" y="1078"/>
                    </a:lnTo>
                    <a:lnTo>
                      <a:pt x="592" y="1078"/>
                    </a:lnTo>
                    <a:lnTo>
                      <a:pt x="592" y="978"/>
                    </a:lnTo>
                    <a:lnTo>
                      <a:pt x="523" y="978"/>
                    </a:lnTo>
                    <a:lnTo>
                      <a:pt x="450" y="978"/>
                    </a:lnTo>
                    <a:lnTo>
                      <a:pt x="328" y="978"/>
                    </a:lnTo>
                    <a:lnTo>
                      <a:pt x="278" y="978"/>
                    </a:lnTo>
                    <a:lnTo>
                      <a:pt x="236" y="978"/>
                    </a:lnTo>
                    <a:lnTo>
                      <a:pt x="200" y="978"/>
                    </a:lnTo>
                    <a:lnTo>
                      <a:pt x="87" y="978"/>
                    </a:lnTo>
                    <a:lnTo>
                      <a:pt x="83" y="978"/>
                    </a:lnTo>
                    <a:lnTo>
                      <a:pt x="81" y="978"/>
                    </a:lnTo>
                    <a:lnTo>
                      <a:pt x="81" y="978"/>
                    </a:lnTo>
                    <a:lnTo>
                      <a:pt x="63" y="976"/>
                    </a:lnTo>
                    <a:lnTo>
                      <a:pt x="45" y="968"/>
                    </a:lnTo>
                    <a:lnTo>
                      <a:pt x="30" y="955"/>
                    </a:lnTo>
                    <a:lnTo>
                      <a:pt x="17" y="938"/>
                    </a:lnTo>
                    <a:lnTo>
                      <a:pt x="8" y="921"/>
                    </a:lnTo>
                    <a:lnTo>
                      <a:pt x="2" y="900"/>
                    </a:lnTo>
                    <a:lnTo>
                      <a:pt x="0" y="879"/>
                    </a:lnTo>
                    <a:lnTo>
                      <a:pt x="0" y="535"/>
                    </a:lnTo>
                    <a:lnTo>
                      <a:pt x="0" y="467"/>
                    </a:lnTo>
                    <a:lnTo>
                      <a:pt x="0" y="408"/>
                    </a:lnTo>
                    <a:lnTo>
                      <a:pt x="0" y="355"/>
                    </a:lnTo>
                    <a:lnTo>
                      <a:pt x="0" y="308"/>
                    </a:lnTo>
                    <a:lnTo>
                      <a:pt x="0" y="232"/>
                    </a:lnTo>
                    <a:lnTo>
                      <a:pt x="0" y="202"/>
                    </a:lnTo>
                    <a:lnTo>
                      <a:pt x="0" y="89"/>
                    </a:lnTo>
                    <a:lnTo>
                      <a:pt x="2" y="65"/>
                    </a:lnTo>
                    <a:lnTo>
                      <a:pt x="10" y="44"/>
                    </a:lnTo>
                    <a:lnTo>
                      <a:pt x="23" y="25"/>
                    </a:lnTo>
                    <a:lnTo>
                      <a:pt x="39" y="13"/>
                    </a:lnTo>
                    <a:lnTo>
                      <a:pt x="59" y="3"/>
                    </a:lnTo>
                    <a:lnTo>
                      <a:pt x="81" y="0"/>
                    </a:lnTo>
                    <a:lnTo>
                      <a:pt x="654" y="0"/>
                    </a:lnTo>
                    <a:lnTo>
                      <a:pt x="745"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165" name="Rectangle 164">
              <a:extLst>
                <a:ext uri="{FF2B5EF4-FFF2-40B4-BE49-F238E27FC236}">
                  <a16:creationId xmlns:a16="http://schemas.microsoft.com/office/drawing/2014/main" id="{150AF45D-9049-48A6-813B-62052289753A}"/>
                </a:ext>
              </a:extLst>
            </p:cNvPr>
            <p:cNvSpPr/>
            <p:nvPr/>
          </p:nvSpPr>
          <p:spPr>
            <a:xfrm>
              <a:off x="9222858" y="6088062"/>
              <a:ext cx="1234863" cy="470922"/>
            </a:xfrm>
            <a:prstGeom prst="rect">
              <a:avLst/>
            </a:prstGeom>
          </p:spPr>
          <p:txBody>
            <a:bodyPr wrap="none">
              <a:spAutoFit/>
            </a:bodyPr>
            <a:lstStyle/>
            <a:p>
              <a:pPr marL="0" marR="0" lvl="0" indent="0" algn="ctr" defTabSz="896386"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MAN-IN-THE-</a:t>
              </a:r>
              <a:b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MIDDLE</a:t>
              </a:r>
            </a:p>
          </p:txBody>
        </p:sp>
      </p:grpSp>
      <p:grpSp>
        <p:nvGrpSpPr>
          <p:cNvPr id="12" name="Group 11">
            <a:extLst>
              <a:ext uri="{FF2B5EF4-FFF2-40B4-BE49-F238E27FC236}">
                <a16:creationId xmlns:a16="http://schemas.microsoft.com/office/drawing/2014/main" id="{8A2AEC0A-2CDC-4C42-8590-A55782608FC7}"/>
              </a:ext>
            </a:extLst>
          </p:cNvPr>
          <p:cNvGrpSpPr/>
          <p:nvPr/>
        </p:nvGrpSpPr>
        <p:grpSpPr>
          <a:xfrm>
            <a:off x="6246703" y="4803384"/>
            <a:ext cx="1098110" cy="1442483"/>
            <a:chOff x="6371962" y="4899207"/>
            <a:chExt cx="1120129" cy="1471409"/>
          </a:xfrm>
        </p:grpSpPr>
        <p:sp>
          <p:nvSpPr>
            <p:cNvPr id="176" name="Oval 175">
              <a:extLst>
                <a:ext uri="{FF2B5EF4-FFF2-40B4-BE49-F238E27FC236}">
                  <a16:creationId xmlns:a16="http://schemas.microsoft.com/office/drawing/2014/main" id="{E418205E-B0A1-425C-A771-79FA554FA92D}"/>
                </a:ext>
              </a:extLst>
            </p:cNvPr>
            <p:cNvSpPr/>
            <p:nvPr/>
          </p:nvSpPr>
          <p:spPr>
            <a:xfrm>
              <a:off x="6416395" y="4950467"/>
              <a:ext cx="1054966" cy="10549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78" name="Donut 257">
              <a:extLst>
                <a:ext uri="{FF2B5EF4-FFF2-40B4-BE49-F238E27FC236}">
                  <a16:creationId xmlns:a16="http://schemas.microsoft.com/office/drawing/2014/main" id="{0A3EFAF1-F0C2-45DC-8213-CAAC26F4C7D0}"/>
                </a:ext>
              </a:extLst>
            </p:cNvPr>
            <p:cNvSpPr/>
            <p:nvPr/>
          </p:nvSpPr>
          <p:spPr>
            <a:xfrm>
              <a:off x="6371962" y="4899207"/>
              <a:ext cx="1120129" cy="1120129"/>
            </a:xfrm>
            <a:prstGeom prst="donut">
              <a:avLst>
                <a:gd name="adj" fmla="val 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79" name="Group 178">
              <a:extLst>
                <a:ext uri="{FF2B5EF4-FFF2-40B4-BE49-F238E27FC236}">
                  <a16:creationId xmlns:a16="http://schemas.microsoft.com/office/drawing/2014/main" id="{34C5028A-2907-4F20-8F09-7028FCD7F997}"/>
                </a:ext>
              </a:extLst>
            </p:cNvPr>
            <p:cNvGrpSpPr/>
            <p:nvPr/>
          </p:nvGrpSpPr>
          <p:grpSpPr>
            <a:xfrm>
              <a:off x="6479595" y="5098218"/>
              <a:ext cx="904864" cy="791619"/>
              <a:chOff x="-752475" y="2144713"/>
              <a:chExt cx="1331913" cy="1165225"/>
            </a:xfrm>
          </p:grpSpPr>
          <p:sp>
            <p:nvSpPr>
              <p:cNvPr id="180" name="Freeform 131">
                <a:extLst>
                  <a:ext uri="{FF2B5EF4-FFF2-40B4-BE49-F238E27FC236}">
                    <a16:creationId xmlns:a16="http://schemas.microsoft.com/office/drawing/2014/main" id="{4C93225A-21B6-4DCA-AD2A-560F40C39C58}"/>
                  </a:ext>
                </a:extLst>
              </p:cNvPr>
              <p:cNvSpPr>
                <a:spLocks/>
              </p:cNvSpPr>
              <p:nvPr/>
            </p:nvSpPr>
            <p:spPr bwMode="auto">
              <a:xfrm>
                <a:off x="-106363" y="2444750"/>
                <a:ext cx="46038" cy="63500"/>
              </a:xfrm>
              <a:custGeom>
                <a:avLst/>
                <a:gdLst>
                  <a:gd name="T0" fmla="*/ 58 w 115"/>
                  <a:gd name="T1" fmla="*/ 11 h 157"/>
                  <a:gd name="T2" fmla="*/ 65 w 115"/>
                  <a:gd name="T3" fmla="*/ 30 h 157"/>
                  <a:gd name="T4" fmla="*/ 78 w 115"/>
                  <a:gd name="T5" fmla="*/ 47 h 157"/>
                  <a:gd name="T6" fmla="*/ 81 w 115"/>
                  <a:gd name="T7" fmla="*/ 55 h 157"/>
                  <a:gd name="T8" fmla="*/ 82 w 115"/>
                  <a:gd name="T9" fmla="*/ 62 h 157"/>
                  <a:gd name="T10" fmla="*/ 88 w 115"/>
                  <a:gd name="T11" fmla="*/ 72 h 157"/>
                  <a:gd name="T12" fmla="*/ 96 w 115"/>
                  <a:gd name="T13" fmla="*/ 85 h 157"/>
                  <a:gd name="T14" fmla="*/ 101 w 115"/>
                  <a:gd name="T15" fmla="*/ 93 h 157"/>
                  <a:gd name="T16" fmla="*/ 104 w 115"/>
                  <a:gd name="T17" fmla="*/ 98 h 157"/>
                  <a:gd name="T18" fmla="*/ 105 w 115"/>
                  <a:gd name="T19" fmla="*/ 100 h 157"/>
                  <a:gd name="T20" fmla="*/ 106 w 115"/>
                  <a:gd name="T21" fmla="*/ 102 h 157"/>
                  <a:gd name="T22" fmla="*/ 107 w 115"/>
                  <a:gd name="T23" fmla="*/ 105 h 157"/>
                  <a:gd name="T24" fmla="*/ 110 w 115"/>
                  <a:gd name="T25" fmla="*/ 109 h 157"/>
                  <a:gd name="T26" fmla="*/ 113 w 115"/>
                  <a:gd name="T27" fmla="*/ 113 h 157"/>
                  <a:gd name="T28" fmla="*/ 115 w 115"/>
                  <a:gd name="T29" fmla="*/ 131 h 157"/>
                  <a:gd name="T30" fmla="*/ 113 w 115"/>
                  <a:gd name="T31" fmla="*/ 140 h 157"/>
                  <a:gd name="T32" fmla="*/ 106 w 115"/>
                  <a:gd name="T33" fmla="*/ 146 h 157"/>
                  <a:gd name="T34" fmla="*/ 105 w 115"/>
                  <a:gd name="T35" fmla="*/ 148 h 157"/>
                  <a:gd name="T36" fmla="*/ 98 w 115"/>
                  <a:gd name="T37" fmla="*/ 153 h 157"/>
                  <a:gd name="T38" fmla="*/ 91 w 115"/>
                  <a:gd name="T39" fmla="*/ 155 h 157"/>
                  <a:gd name="T40" fmla="*/ 85 w 115"/>
                  <a:gd name="T41" fmla="*/ 154 h 157"/>
                  <a:gd name="T42" fmla="*/ 69 w 115"/>
                  <a:gd name="T43" fmla="*/ 149 h 157"/>
                  <a:gd name="T44" fmla="*/ 58 w 115"/>
                  <a:gd name="T45" fmla="*/ 140 h 157"/>
                  <a:gd name="T46" fmla="*/ 46 w 115"/>
                  <a:gd name="T47" fmla="*/ 152 h 157"/>
                  <a:gd name="T48" fmla="*/ 29 w 115"/>
                  <a:gd name="T49" fmla="*/ 157 h 157"/>
                  <a:gd name="T50" fmla="*/ 13 w 115"/>
                  <a:gd name="T51" fmla="*/ 151 h 157"/>
                  <a:gd name="T52" fmla="*/ 4 w 115"/>
                  <a:gd name="T53" fmla="*/ 144 h 157"/>
                  <a:gd name="T54" fmla="*/ 4 w 115"/>
                  <a:gd name="T55" fmla="*/ 142 h 157"/>
                  <a:gd name="T56" fmla="*/ 3 w 115"/>
                  <a:gd name="T57" fmla="*/ 140 h 157"/>
                  <a:gd name="T58" fmla="*/ 2 w 115"/>
                  <a:gd name="T59" fmla="*/ 138 h 157"/>
                  <a:gd name="T60" fmla="*/ 0 w 115"/>
                  <a:gd name="T61" fmla="*/ 130 h 157"/>
                  <a:gd name="T62" fmla="*/ 1 w 115"/>
                  <a:gd name="T63" fmla="*/ 123 h 157"/>
                  <a:gd name="T64" fmla="*/ 5 w 115"/>
                  <a:gd name="T65" fmla="*/ 105 h 157"/>
                  <a:gd name="T66" fmla="*/ 13 w 115"/>
                  <a:gd name="T67" fmla="*/ 86 h 157"/>
                  <a:gd name="T68" fmla="*/ 25 w 115"/>
                  <a:gd name="T69" fmla="*/ 71 h 157"/>
                  <a:gd name="T70" fmla="*/ 31 w 115"/>
                  <a:gd name="T71" fmla="*/ 61 h 157"/>
                  <a:gd name="T72" fmla="*/ 32 w 115"/>
                  <a:gd name="T73" fmla="*/ 56 h 157"/>
                  <a:gd name="T74" fmla="*/ 33 w 115"/>
                  <a:gd name="T75" fmla="*/ 55 h 157"/>
                  <a:gd name="T76" fmla="*/ 34 w 115"/>
                  <a:gd name="T77" fmla="*/ 53 h 157"/>
                  <a:gd name="T78" fmla="*/ 35 w 115"/>
                  <a:gd name="T79" fmla="*/ 53 h 157"/>
                  <a:gd name="T80" fmla="*/ 49 w 115"/>
                  <a:gd name="T81" fmla="*/ 27 h 157"/>
                  <a:gd name="T82" fmla="*/ 57 w 115"/>
                  <a:gd name="T83"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 h="157">
                    <a:moveTo>
                      <a:pt x="57" y="0"/>
                    </a:moveTo>
                    <a:lnTo>
                      <a:pt x="58" y="11"/>
                    </a:lnTo>
                    <a:lnTo>
                      <a:pt x="61" y="21"/>
                    </a:lnTo>
                    <a:lnTo>
                      <a:pt x="65" y="30"/>
                    </a:lnTo>
                    <a:lnTo>
                      <a:pt x="71" y="39"/>
                    </a:lnTo>
                    <a:lnTo>
                      <a:pt x="78" y="47"/>
                    </a:lnTo>
                    <a:lnTo>
                      <a:pt x="79" y="51"/>
                    </a:lnTo>
                    <a:lnTo>
                      <a:pt x="81" y="55"/>
                    </a:lnTo>
                    <a:lnTo>
                      <a:pt x="82" y="58"/>
                    </a:lnTo>
                    <a:lnTo>
                      <a:pt x="82" y="62"/>
                    </a:lnTo>
                    <a:lnTo>
                      <a:pt x="84" y="65"/>
                    </a:lnTo>
                    <a:lnTo>
                      <a:pt x="88" y="72"/>
                    </a:lnTo>
                    <a:lnTo>
                      <a:pt x="92" y="79"/>
                    </a:lnTo>
                    <a:lnTo>
                      <a:pt x="96" y="85"/>
                    </a:lnTo>
                    <a:lnTo>
                      <a:pt x="99" y="89"/>
                    </a:lnTo>
                    <a:lnTo>
                      <a:pt x="101" y="93"/>
                    </a:lnTo>
                    <a:lnTo>
                      <a:pt x="104" y="97"/>
                    </a:lnTo>
                    <a:lnTo>
                      <a:pt x="104" y="98"/>
                    </a:lnTo>
                    <a:lnTo>
                      <a:pt x="104" y="99"/>
                    </a:lnTo>
                    <a:lnTo>
                      <a:pt x="105" y="100"/>
                    </a:lnTo>
                    <a:lnTo>
                      <a:pt x="105" y="102"/>
                    </a:lnTo>
                    <a:lnTo>
                      <a:pt x="106" y="102"/>
                    </a:lnTo>
                    <a:lnTo>
                      <a:pt x="106" y="104"/>
                    </a:lnTo>
                    <a:lnTo>
                      <a:pt x="107" y="105"/>
                    </a:lnTo>
                    <a:lnTo>
                      <a:pt x="109" y="106"/>
                    </a:lnTo>
                    <a:lnTo>
                      <a:pt x="110" y="109"/>
                    </a:lnTo>
                    <a:lnTo>
                      <a:pt x="111" y="111"/>
                    </a:lnTo>
                    <a:lnTo>
                      <a:pt x="113" y="113"/>
                    </a:lnTo>
                    <a:lnTo>
                      <a:pt x="114" y="122"/>
                    </a:lnTo>
                    <a:lnTo>
                      <a:pt x="115" y="131"/>
                    </a:lnTo>
                    <a:lnTo>
                      <a:pt x="114" y="135"/>
                    </a:lnTo>
                    <a:lnTo>
                      <a:pt x="113" y="140"/>
                    </a:lnTo>
                    <a:lnTo>
                      <a:pt x="110" y="144"/>
                    </a:lnTo>
                    <a:lnTo>
                      <a:pt x="106" y="146"/>
                    </a:lnTo>
                    <a:lnTo>
                      <a:pt x="105" y="147"/>
                    </a:lnTo>
                    <a:lnTo>
                      <a:pt x="105" y="148"/>
                    </a:lnTo>
                    <a:lnTo>
                      <a:pt x="101" y="151"/>
                    </a:lnTo>
                    <a:lnTo>
                      <a:pt x="98" y="153"/>
                    </a:lnTo>
                    <a:lnTo>
                      <a:pt x="94" y="154"/>
                    </a:lnTo>
                    <a:lnTo>
                      <a:pt x="91" y="155"/>
                    </a:lnTo>
                    <a:lnTo>
                      <a:pt x="88" y="155"/>
                    </a:lnTo>
                    <a:lnTo>
                      <a:pt x="85" y="154"/>
                    </a:lnTo>
                    <a:lnTo>
                      <a:pt x="77" y="153"/>
                    </a:lnTo>
                    <a:lnTo>
                      <a:pt x="69" y="149"/>
                    </a:lnTo>
                    <a:lnTo>
                      <a:pt x="63" y="145"/>
                    </a:lnTo>
                    <a:lnTo>
                      <a:pt x="58" y="140"/>
                    </a:lnTo>
                    <a:lnTo>
                      <a:pt x="55" y="146"/>
                    </a:lnTo>
                    <a:lnTo>
                      <a:pt x="46" y="152"/>
                    </a:lnTo>
                    <a:lnTo>
                      <a:pt x="38" y="156"/>
                    </a:lnTo>
                    <a:lnTo>
                      <a:pt x="29" y="157"/>
                    </a:lnTo>
                    <a:lnTo>
                      <a:pt x="21" y="155"/>
                    </a:lnTo>
                    <a:lnTo>
                      <a:pt x="13" y="151"/>
                    </a:lnTo>
                    <a:lnTo>
                      <a:pt x="5" y="144"/>
                    </a:lnTo>
                    <a:lnTo>
                      <a:pt x="4" y="144"/>
                    </a:lnTo>
                    <a:lnTo>
                      <a:pt x="4" y="142"/>
                    </a:lnTo>
                    <a:lnTo>
                      <a:pt x="4" y="142"/>
                    </a:lnTo>
                    <a:lnTo>
                      <a:pt x="4" y="141"/>
                    </a:lnTo>
                    <a:lnTo>
                      <a:pt x="3" y="140"/>
                    </a:lnTo>
                    <a:lnTo>
                      <a:pt x="2" y="140"/>
                    </a:lnTo>
                    <a:lnTo>
                      <a:pt x="2" y="138"/>
                    </a:lnTo>
                    <a:lnTo>
                      <a:pt x="1" y="134"/>
                    </a:lnTo>
                    <a:lnTo>
                      <a:pt x="0" y="130"/>
                    </a:lnTo>
                    <a:lnTo>
                      <a:pt x="1" y="126"/>
                    </a:lnTo>
                    <a:lnTo>
                      <a:pt x="1" y="123"/>
                    </a:lnTo>
                    <a:lnTo>
                      <a:pt x="2" y="115"/>
                    </a:lnTo>
                    <a:lnTo>
                      <a:pt x="5" y="105"/>
                    </a:lnTo>
                    <a:lnTo>
                      <a:pt x="9" y="96"/>
                    </a:lnTo>
                    <a:lnTo>
                      <a:pt x="13" y="86"/>
                    </a:lnTo>
                    <a:lnTo>
                      <a:pt x="18" y="78"/>
                    </a:lnTo>
                    <a:lnTo>
                      <a:pt x="25" y="71"/>
                    </a:lnTo>
                    <a:lnTo>
                      <a:pt x="28" y="66"/>
                    </a:lnTo>
                    <a:lnTo>
                      <a:pt x="31" y="61"/>
                    </a:lnTo>
                    <a:lnTo>
                      <a:pt x="32" y="58"/>
                    </a:lnTo>
                    <a:lnTo>
                      <a:pt x="32" y="56"/>
                    </a:lnTo>
                    <a:lnTo>
                      <a:pt x="33" y="55"/>
                    </a:lnTo>
                    <a:lnTo>
                      <a:pt x="33" y="55"/>
                    </a:lnTo>
                    <a:lnTo>
                      <a:pt x="34" y="55"/>
                    </a:lnTo>
                    <a:lnTo>
                      <a:pt x="34" y="53"/>
                    </a:lnTo>
                    <a:lnTo>
                      <a:pt x="34" y="53"/>
                    </a:lnTo>
                    <a:lnTo>
                      <a:pt x="35" y="53"/>
                    </a:lnTo>
                    <a:lnTo>
                      <a:pt x="43" y="40"/>
                    </a:lnTo>
                    <a:lnTo>
                      <a:pt x="49" y="27"/>
                    </a:lnTo>
                    <a:lnTo>
                      <a:pt x="54" y="13"/>
                    </a:lnTo>
                    <a:lnTo>
                      <a:pt x="57" y="0"/>
                    </a:ln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1" name="Freeform 132">
                <a:extLst>
                  <a:ext uri="{FF2B5EF4-FFF2-40B4-BE49-F238E27FC236}">
                    <a16:creationId xmlns:a16="http://schemas.microsoft.com/office/drawing/2014/main" id="{3652C90D-E138-4053-A8E3-AD51780CA546}"/>
                  </a:ext>
                </a:extLst>
              </p:cNvPr>
              <p:cNvSpPr>
                <a:spLocks/>
              </p:cNvSpPr>
              <p:nvPr/>
            </p:nvSpPr>
            <p:spPr bwMode="auto">
              <a:xfrm>
                <a:off x="-60325" y="2387600"/>
                <a:ext cx="77788" cy="66675"/>
              </a:xfrm>
              <a:custGeom>
                <a:avLst/>
                <a:gdLst>
                  <a:gd name="T0" fmla="*/ 129 w 194"/>
                  <a:gd name="T1" fmla="*/ 0 h 165"/>
                  <a:gd name="T2" fmla="*/ 142 w 194"/>
                  <a:gd name="T3" fmla="*/ 1 h 165"/>
                  <a:gd name="T4" fmla="*/ 153 w 194"/>
                  <a:gd name="T5" fmla="*/ 3 h 165"/>
                  <a:gd name="T6" fmla="*/ 165 w 194"/>
                  <a:gd name="T7" fmla="*/ 16 h 165"/>
                  <a:gd name="T8" fmla="*/ 175 w 194"/>
                  <a:gd name="T9" fmla="*/ 30 h 165"/>
                  <a:gd name="T10" fmla="*/ 183 w 194"/>
                  <a:gd name="T11" fmla="*/ 44 h 165"/>
                  <a:gd name="T12" fmla="*/ 189 w 194"/>
                  <a:gd name="T13" fmla="*/ 60 h 165"/>
                  <a:gd name="T14" fmla="*/ 192 w 194"/>
                  <a:gd name="T15" fmla="*/ 77 h 165"/>
                  <a:gd name="T16" fmla="*/ 194 w 194"/>
                  <a:gd name="T17" fmla="*/ 95 h 165"/>
                  <a:gd name="T18" fmla="*/ 194 w 194"/>
                  <a:gd name="T19" fmla="*/ 113 h 165"/>
                  <a:gd name="T20" fmla="*/ 193 w 194"/>
                  <a:gd name="T21" fmla="*/ 114 h 165"/>
                  <a:gd name="T22" fmla="*/ 193 w 194"/>
                  <a:gd name="T23" fmla="*/ 115 h 165"/>
                  <a:gd name="T24" fmla="*/ 193 w 194"/>
                  <a:gd name="T25" fmla="*/ 117 h 165"/>
                  <a:gd name="T26" fmla="*/ 192 w 194"/>
                  <a:gd name="T27" fmla="*/ 118 h 165"/>
                  <a:gd name="T28" fmla="*/ 192 w 194"/>
                  <a:gd name="T29" fmla="*/ 120 h 165"/>
                  <a:gd name="T30" fmla="*/ 188 w 194"/>
                  <a:gd name="T31" fmla="*/ 126 h 165"/>
                  <a:gd name="T32" fmla="*/ 184 w 194"/>
                  <a:gd name="T33" fmla="*/ 134 h 165"/>
                  <a:gd name="T34" fmla="*/ 183 w 194"/>
                  <a:gd name="T35" fmla="*/ 136 h 165"/>
                  <a:gd name="T36" fmla="*/ 183 w 194"/>
                  <a:gd name="T37" fmla="*/ 138 h 165"/>
                  <a:gd name="T38" fmla="*/ 181 w 194"/>
                  <a:gd name="T39" fmla="*/ 139 h 165"/>
                  <a:gd name="T40" fmla="*/ 179 w 194"/>
                  <a:gd name="T41" fmla="*/ 141 h 165"/>
                  <a:gd name="T42" fmla="*/ 176 w 194"/>
                  <a:gd name="T43" fmla="*/ 145 h 165"/>
                  <a:gd name="T44" fmla="*/ 172 w 194"/>
                  <a:gd name="T45" fmla="*/ 148 h 165"/>
                  <a:gd name="T46" fmla="*/ 167 w 194"/>
                  <a:gd name="T47" fmla="*/ 151 h 165"/>
                  <a:gd name="T48" fmla="*/ 163 w 194"/>
                  <a:gd name="T49" fmla="*/ 152 h 165"/>
                  <a:gd name="T50" fmla="*/ 136 w 194"/>
                  <a:gd name="T51" fmla="*/ 152 h 165"/>
                  <a:gd name="T52" fmla="*/ 132 w 194"/>
                  <a:gd name="T53" fmla="*/ 153 h 165"/>
                  <a:gd name="T54" fmla="*/ 128 w 194"/>
                  <a:gd name="T55" fmla="*/ 154 h 165"/>
                  <a:gd name="T56" fmla="*/ 125 w 194"/>
                  <a:gd name="T57" fmla="*/ 155 h 165"/>
                  <a:gd name="T58" fmla="*/ 112 w 194"/>
                  <a:gd name="T59" fmla="*/ 159 h 165"/>
                  <a:gd name="T60" fmla="*/ 100 w 194"/>
                  <a:gd name="T61" fmla="*/ 162 h 165"/>
                  <a:gd name="T62" fmla="*/ 87 w 194"/>
                  <a:gd name="T63" fmla="*/ 164 h 165"/>
                  <a:gd name="T64" fmla="*/ 74 w 194"/>
                  <a:gd name="T65" fmla="*/ 165 h 165"/>
                  <a:gd name="T66" fmla="*/ 63 w 194"/>
                  <a:gd name="T67" fmla="*/ 165 h 165"/>
                  <a:gd name="T68" fmla="*/ 53 w 194"/>
                  <a:gd name="T69" fmla="*/ 164 h 165"/>
                  <a:gd name="T70" fmla="*/ 43 w 194"/>
                  <a:gd name="T71" fmla="*/ 160 h 165"/>
                  <a:gd name="T72" fmla="*/ 35 w 194"/>
                  <a:gd name="T73" fmla="*/ 155 h 165"/>
                  <a:gd name="T74" fmla="*/ 27 w 194"/>
                  <a:gd name="T75" fmla="*/ 149 h 165"/>
                  <a:gd name="T76" fmla="*/ 20 w 194"/>
                  <a:gd name="T77" fmla="*/ 144 h 165"/>
                  <a:gd name="T78" fmla="*/ 14 w 194"/>
                  <a:gd name="T79" fmla="*/ 138 h 165"/>
                  <a:gd name="T80" fmla="*/ 10 w 194"/>
                  <a:gd name="T81" fmla="*/ 127 h 165"/>
                  <a:gd name="T82" fmla="*/ 5 w 194"/>
                  <a:gd name="T83" fmla="*/ 118 h 165"/>
                  <a:gd name="T84" fmla="*/ 2 w 194"/>
                  <a:gd name="T85" fmla="*/ 110 h 165"/>
                  <a:gd name="T86" fmla="*/ 0 w 194"/>
                  <a:gd name="T87" fmla="*/ 101 h 165"/>
                  <a:gd name="T88" fmla="*/ 0 w 194"/>
                  <a:gd name="T89" fmla="*/ 91 h 165"/>
                  <a:gd name="T90" fmla="*/ 3 w 194"/>
                  <a:gd name="T91" fmla="*/ 81 h 165"/>
                  <a:gd name="T92" fmla="*/ 7 w 194"/>
                  <a:gd name="T93" fmla="*/ 71 h 165"/>
                  <a:gd name="T94" fmla="*/ 11 w 194"/>
                  <a:gd name="T95" fmla="*/ 61 h 165"/>
                  <a:gd name="T96" fmla="*/ 17 w 194"/>
                  <a:gd name="T97" fmla="*/ 53 h 165"/>
                  <a:gd name="T98" fmla="*/ 26 w 194"/>
                  <a:gd name="T99" fmla="*/ 47 h 165"/>
                  <a:gd name="T100" fmla="*/ 34 w 194"/>
                  <a:gd name="T101" fmla="*/ 41 h 165"/>
                  <a:gd name="T102" fmla="*/ 40 w 194"/>
                  <a:gd name="T103" fmla="*/ 38 h 165"/>
                  <a:gd name="T104" fmla="*/ 47 w 194"/>
                  <a:gd name="T105" fmla="*/ 34 h 165"/>
                  <a:gd name="T106" fmla="*/ 53 w 194"/>
                  <a:gd name="T107" fmla="*/ 32 h 165"/>
                  <a:gd name="T108" fmla="*/ 92 w 194"/>
                  <a:gd name="T109" fmla="*/ 17 h 165"/>
                  <a:gd name="T110" fmla="*/ 129 w 194"/>
                  <a:gd name="T11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65">
                    <a:moveTo>
                      <a:pt x="129" y="0"/>
                    </a:moveTo>
                    <a:lnTo>
                      <a:pt x="142" y="1"/>
                    </a:lnTo>
                    <a:lnTo>
                      <a:pt x="153" y="3"/>
                    </a:lnTo>
                    <a:lnTo>
                      <a:pt x="165" y="16"/>
                    </a:lnTo>
                    <a:lnTo>
                      <a:pt x="175" y="30"/>
                    </a:lnTo>
                    <a:lnTo>
                      <a:pt x="183" y="44"/>
                    </a:lnTo>
                    <a:lnTo>
                      <a:pt x="189" y="60"/>
                    </a:lnTo>
                    <a:lnTo>
                      <a:pt x="192" y="77"/>
                    </a:lnTo>
                    <a:lnTo>
                      <a:pt x="194" y="95"/>
                    </a:lnTo>
                    <a:lnTo>
                      <a:pt x="194" y="113"/>
                    </a:lnTo>
                    <a:lnTo>
                      <a:pt x="193" y="114"/>
                    </a:lnTo>
                    <a:lnTo>
                      <a:pt x="193" y="115"/>
                    </a:lnTo>
                    <a:lnTo>
                      <a:pt x="193" y="117"/>
                    </a:lnTo>
                    <a:lnTo>
                      <a:pt x="192" y="118"/>
                    </a:lnTo>
                    <a:lnTo>
                      <a:pt x="192" y="120"/>
                    </a:lnTo>
                    <a:lnTo>
                      <a:pt x="188" y="126"/>
                    </a:lnTo>
                    <a:lnTo>
                      <a:pt x="184" y="134"/>
                    </a:lnTo>
                    <a:lnTo>
                      <a:pt x="183" y="136"/>
                    </a:lnTo>
                    <a:lnTo>
                      <a:pt x="183" y="138"/>
                    </a:lnTo>
                    <a:lnTo>
                      <a:pt x="181" y="139"/>
                    </a:lnTo>
                    <a:lnTo>
                      <a:pt x="179" y="141"/>
                    </a:lnTo>
                    <a:lnTo>
                      <a:pt x="176" y="145"/>
                    </a:lnTo>
                    <a:lnTo>
                      <a:pt x="172" y="148"/>
                    </a:lnTo>
                    <a:lnTo>
                      <a:pt x="167" y="151"/>
                    </a:lnTo>
                    <a:lnTo>
                      <a:pt x="163" y="152"/>
                    </a:lnTo>
                    <a:lnTo>
                      <a:pt x="136" y="152"/>
                    </a:lnTo>
                    <a:lnTo>
                      <a:pt x="132" y="153"/>
                    </a:lnTo>
                    <a:lnTo>
                      <a:pt x="128" y="154"/>
                    </a:lnTo>
                    <a:lnTo>
                      <a:pt x="125" y="155"/>
                    </a:lnTo>
                    <a:lnTo>
                      <a:pt x="112" y="159"/>
                    </a:lnTo>
                    <a:lnTo>
                      <a:pt x="100" y="162"/>
                    </a:lnTo>
                    <a:lnTo>
                      <a:pt x="87" y="164"/>
                    </a:lnTo>
                    <a:lnTo>
                      <a:pt x="74" y="165"/>
                    </a:lnTo>
                    <a:lnTo>
                      <a:pt x="63" y="165"/>
                    </a:lnTo>
                    <a:lnTo>
                      <a:pt x="53" y="164"/>
                    </a:lnTo>
                    <a:lnTo>
                      <a:pt x="43" y="160"/>
                    </a:lnTo>
                    <a:lnTo>
                      <a:pt x="35" y="155"/>
                    </a:lnTo>
                    <a:lnTo>
                      <a:pt x="27" y="149"/>
                    </a:lnTo>
                    <a:lnTo>
                      <a:pt x="20" y="144"/>
                    </a:lnTo>
                    <a:lnTo>
                      <a:pt x="14" y="138"/>
                    </a:lnTo>
                    <a:lnTo>
                      <a:pt x="10" y="127"/>
                    </a:lnTo>
                    <a:lnTo>
                      <a:pt x="5" y="118"/>
                    </a:lnTo>
                    <a:lnTo>
                      <a:pt x="2" y="110"/>
                    </a:lnTo>
                    <a:lnTo>
                      <a:pt x="0" y="101"/>
                    </a:lnTo>
                    <a:lnTo>
                      <a:pt x="0" y="91"/>
                    </a:lnTo>
                    <a:lnTo>
                      <a:pt x="3" y="81"/>
                    </a:lnTo>
                    <a:lnTo>
                      <a:pt x="7" y="71"/>
                    </a:lnTo>
                    <a:lnTo>
                      <a:pt x="11" y="61"/>
                    </a:lnTo>
                    <a:lnTo>
                      <a:pt x="17" y="53"/>
                    </a:lnTo>
                    <a:lnTo>
                      <a:pt x="26" y="47"/>
                    </a:lnTo>
                    <a:lnTo>
                      <a:pt x="34" y="41"/>
                    </a:lnTo>
                    <a:lnTo>
                      <a:pt x="40" y="38"/>
                    </a:lnTo>
                    <a:lnTo>
                      <a:pt x="47" y="34"/>
                    </a:lnTo>
                    <a:lnTo>
                      <a:pt x="53" y="32"/>
                    </a:lnTo>
                    <a:lnTo>
                      <a:pt x="92" y="17"/>
                    </a:lnTo>
                    <a:lnTo>
                      <a:pt x="129" y="0"/>
                    </a:lnTo>
                    <a:close/>
                  </a:path>
                </a:pathLst>
              </a:custGeom>
              <a:solidFill>
                <a:schemeClr val="accent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2" name="Freeform 133">
                <a:extLst>
                  <a:ext uri="{FF2B5EF4-FFF2-40B4-BE49-F238E27FC236}">
                    <a16:creationId xmlns:a16="http://schemas.microsoft.com/office/drawing/2014/main" id="{AEB818C4-4391-4222-BD89-D431DB13D548}"/>
                  </a:ext>
                </a:extLst>
              </p:cNvPr>
              <p:cNvSpPr>
                <a:spLocks/>
              </p:cNvSpPr>
              <p:nvPr/>
            </p:nvSpPr>
            <p:spPr bwMode="auto">
              <a:xfrm>
                <a:off x="-368300" y="2919413"/>
                <a:ext cx="569913" cy="390525"/>
              </a:xfrm>
              <a:custGeom>
                <a:avLst/>
                <a:gdLst>
                  <a:gd name="T0" fmla="*/ 305 w 1434"/>
                  <a:gd name="T1" fmla="*/ 0 h 985"/>
                  <a:gd name="T2" fmla="*/ 406 w 1434"/>
                  <a:gd name="T3" fmla="*/ 0 h 985"/>
                  <a:gd name="T4" fmla="*/ 406 w 1434"/>
                  <a:gd name="T5" fmla="*/ 8 h 985"/>
                  <a:gd name="T6" fmla="*/ 406 w 1434"/>
                  <a:gd name="T7" fmla="*/ 330 h 985"/>
                  <a:gd name="T8" fmla="*/ 406 w 1434"/>
                  <a:gd name="T9" fmla="*/ 538 h 985"/>
                  <a:gd name="T10" fmla="*/ 408 w 1434"/>
                  <a:gd name="T11" fmla="*/ 539 h 985"/>
                  <a:gd name="T12" fmla="*/ 417 w 1434"/>
                  <a:gd name="T13" fmla="*/ 547 h 985"/>
                  <a:gd name="T14" fmla="*/ 439 w 1434"/>
                  <a:gd name="T15" fmla="*/ 564 h 985"/>
                  <a:gd name="T16" fmla="*/ 479 w 1434"/>
                  <a:gd name="T17" fmla="*/ 596 h 985"/>
                  <a:gd name="T18" fmla="*/ 543 w 1434"/>
                  <a:gd name="T19" fmla="*/ 646 h 985"/>
                  <a:gd name="T20" fmla="*/ 636 w 1434"/>
                  <a:gd name="T21" fmla="*/ 720 h 985"/>
                  <a:gd name="T22" fmla="*/ 717 w 1434"/>
                  <a:gd name="T23" fmla="*/ 784 h 985"/>
                  <a:gd name="T24" fmla="*/ 719 w 1434"/>
                  <a:gd name="T25" fmla="*/ 782 h 985"/>
                  <a:gd name="T26" fmla="*/ 728 w 1434"/>
                  <a:gd name="T27" fmla="*/ 774 h 985"/>
                  <a:gd name="T28" fmla="*/ 751 w 1434"/>
                  <a:gd name="T29" fmla="*/ 757 h 985"/>
                  <a:gd name="T30" fmla="*/ 791 w 1434"/>
                  <a:gd name="T31" fmla="*/ 726 h 985"/>
                  <a:gd name="T32" fmla="*/ 856 w 1434"/>
                  <a:gd name="T33" fmla="*/ 675 h 985"/>
                  <a:gd name="T34" fmla="*/ 948 w 1434"/>
                  <a:gd name="T35" fmla="*/ 602 h 985"/>
                  <a:gd name="T36" fmla="*/ 1030 w 1434"/>
                  <a:gd name="T37" fmla="*/ 536 h 985"/>
                  <a:gd name="T38" fmla="*/ 1030 w 1434"/>
                  <a:gd name="T39" fmla="*/ 311 h 985"/>
                  <a:gd name="T40" fmla="*/ 1030 w 1434"/>
                  <a:gd name="T41" fmla="*/ 145 h 985"/>
                  <a:gd name="T42" fmla="*/ 1031 w 1434"/>
                  <a:gd name="T43" fmla="*/ 0 h 985"/>
                  <a:gd name="T44" fmla="*/ 1045 w 1434"/>
                  <a:gd name="T45" fmla="*/ 0 h 985"/>
                  <a:gd name="T46" fmla="*/ 1092 w 1434"/>
                  <a:gd name="T47" fmla="*/ 0 h 985"/>
                  <a:gd name="T48" fmla="*/ 1191 w 1434"/>
                  <a:gd name="T49" fmla="*/ 0 h 985"/>
                  <a:gd name="T50" fmla="*/ 1197 w 1434"/>
                  <a:gd name="T51" fmla="*/ 426 h 985"/>
                  <a:gd name="T52" fmla="*/ 1221 w 1434"/>
                  <a:gd name="T53" fmla="*/ 426 h 985"/>
                  <a:gd name="T54" fmla="*/ 1309 w 1434"/>
                  <a:gd name="T55" fmla="*/ 426 h 985"/>
                  <a:gd name="T56" fmla="*/ 1434 w 1434"/>
                  <a:gd name="T57" fmla="*/ 426 h 985"/>
                  <a:gd name="T58" fmla="*/ 1433 w 1434"/>
                  <a:gd name="T59" fmla="*/ 427 h 985"/>
                  <a:gd name="T60" fmla="*/ 1426 w 1434"/>
                  <a:gd name="T61" fmla="*/ 432 h 985"/>
                  <a:gd name="T62" fmla="*/ 1409 w 1434"/>
                  <a:gd name="T63" fmla="*/ 444 h 985"/>
                  <a:gd name="T64" fmla="*/ 1381 w 1434"/>
                  <a:gd name="T65" fmla="*/ 466 h 985"/>
                  <a:gd name="T66" fmla="*/ 1335 w 1434"/>
                  <a:gd name="T67" fmla="*/ 502 h 985"/>
                  <a:gd name="T68" fmla="*/ 1269 w 1434"/>
                  <a:gd name="T69" fmla="*/ 554 h 985"/>
                  <a:gd name="T70" fmla="*/ 1177 w 1434"/>
                  <a:gd name="T71" fmla="*/ 625 h 985"/>
                  <a:gd name="T72" fmla="*/ 1058 w 1434"/>
                  <a:gd name="T73" fmla="*/ 719 h 985"/>
                  <a:gd name="T74" fmla="*/ 905 w 1434"/>
                  <a:gd name="T75" fmla="*/ 838 h 985"/>
                  <a:gd name="T76" fmla="*/ 717 w 1434"/>
                  <a:gd name="T77" fmla="*/ 985 h 985"/>
                  <a:gd name="T78" fmla="*/ 716 w 1434"/>
                  <a:gd name="T79" fmla="*/ 984 h 985"/>
                  <a:gd name="T80" fmla="*/ 711 w 1434"/>
                  <a:gd name="T81" fmla="*/ 981 h 985"/>
                  <a:gd name="T82" fmla="*/ 699 w 1434"/>
                  <a:gd name="T83" fmla="*/ 971 h 985"/>
                  <a:gd name="T84" fmla="*/ 675 w 1434"/>
                  <a:gd name="T85" fmla="*/ 952 h 985"/>
                  <a:gd name="T86" fmla="*/ 636 w 1434"/>
                  <a:gd name="T87" fmla="*/ 921 h 985"/>
                  <a:gd name="T88" fmla="*/ 577 w 1434"/>
                  <a:gd name="T89" fmla="*/ 875 h 985"/>
                  <a:gd name="T90" fmla="*/ 494 w 1434"/>
                  <a:gd name="T91" fmla="*/ 811 h 985"/>
                  <a:gd name="T92" fmla="*/ 384 w 1434"/>
                  <a:gd name="T93" fmla="*/ 725 h 985"/>
                  <a:gd name="T94" fmla="*/ 244 w 1434"/>
                  <a:gd name="T95" fmla="*/ 615 h 985"/>
                  <a:gd name="T96" fmla="*/ 68 w 1434"/>
                  <a:gd name="T97" fmla="*/ 478 h 985"/>
                  <a:gd name="T98" fmla="*/ 6 w 1434"/>
                  <a:gd name="T99" fmla="*/ 426 h 985"/>
                  <a:gd name="T100" fmla="*/ 31 w 1434"/>
                  <a:gd name="T101" fmla="*/ 426 h 985"/>
                  <a:gd name="T102" fmla="*/ 118 w 1434"/>
                  <a:gd name="T103" fmla="*/ 426 h 985"/>
                  <a:gd name="T104" fmla="*/ 243 w 1434"/>
                  <a:gd name="T105" fmla="*/ 424 h 985"/>
                  <a:gd name="T106" fmla="*/ 243 w 1434"/>
                  <a:gd name="T107" fmla="*/ 409 h 985"/>
                  <a:gd name="T108" fmla="*/ 243 w 1434"/>
                  <a:gd name="T109" fmla="*/ 225 h 985"/>
                  <a:gd name="T110" fmla="*/ 243 w 1434"/>
                  <a:gd name="T111" fmla="*/ 0 h 985"/>
                  <a:gd name="T112" fmla="*/ 251 w 1434"/>
                  <a:gd name="T113"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34" h="985">
                    <a:moveTo>
                      <a:pt x="269" y="0"/>
                    </a:moveTo>
                    <a:lnTo>
                      <a:pt x="284" y="0"/>
                    </a:lnTo>
                    <a:lnTo>
                      <a:pt x="305" y="0"/>
                    </a:lnTo>
                    <a:lnTo>
                      <a:pt x="331" y="0"/>
                    </a:lnTo>
                    <a:lnTo>
                      <a:pt x="365" y="0"/>
                    </a:lnTo>
                    <a:lnTo>
                      <a:pt x="406" y="0"/>
                    </a:lnTo>
                    <a:lnTo>
                      <a:pt x="406" y="2"/>
                    </a:lnTo>
                    <a:lnTo>
                      <a:pt x="406" y="4"/>
                    </a:lnTo>
                    <a:lnTo>
                      <a:pt x="406" y="8"/>
                    </a:lnTo>
                    <a:lnTo>
                      <a:pt x="406" y="226"/>
                    </a:lnTo>
                    <a:lnTo>
                      <a:pt x="406" y="275"/>
                    </a:lnTo>
                    <a:lnTo>
                      <a:pt x="406" y="330"/>
                    </a:lnTo>
                    <a:lnTo>
                      <a:pt x="406" y="392"/>
                    </a:lnTo>
                    <a:lnTo>
                      <a:pt x="406" y="538"/>
                    </a:lnTo>
                    <a:lnTo>
                      <a:pt x="406" y="538"/>
                    </a:lnTo>
                    <a:lnTo>
                      <a:pt x="406" y="538"/>
                    </a:lnTo>
                    <a:lnTo>
                      <a:pt x="406" y="539"/>
                    </a:lnTo>
                    <a:lnTo>
                      <a:pt x="408" y="539"/>
                    </a:lnTo>
                    <a:lnTo>
                      <a:pt x="410" y="541"/>
                    </a:lnTo>
                    <a:lnTo>
                      <a:pt x="413" y="543"/>
                    </a:lnTo>
                    <a:lnTo>
                      <a:pt x="417" y="547"/>
                    </a:lnTo>
                    <a:lnTo>
                      <a:pt x="422" y="551"/>
                    </a:lnTo>
                    <a:lnTo>
                      <a:pt x="430" y="557"/>
                    </a:lnTo>
                    <a:lnTo>
                      <a:pt x="439" y="564"/>
                    </a:lnTo>
                    <a:lnTo>
                      <a:pt x="450" y="573"/>
                    </a:lnTo>
                    <a:lnTo>
                      <a:pt x="464" y="583"/>
                    </a:lnTo>
                    <a:lnTo>
                      <a:pt x="479" y="596"/>
                    </a:lnTo>
                    <a:lnTo>
                      <a:pt x="497" y="611"/>
                    </a:lnTo>
                    <a:lnTo>
                      <a:pt x="519" y="627"/>
                    </a:lnTo>
                    <a:lnTo>
                      <a:pt x="543" y="646"/>
                    </a:lnTo>
                    <a:lnTo>
                      <a:pt x="570" y="668"/>
                    </a:lnTo>
                    <a:lnTo>
                      <a:pt x="601" y="692"/>
                    </a:lnTo>
                    <a:lnTo>
                      <a:pt x="636" y="720"/>
                    </a:lnTo>
                    <a:lnTo>
                      <a:pt x="674" y="750"/>
                    </a:lnTo>
                    <a:lnTo>
                      <a:pt x="717" y="784"/>
                    </a:lnTo>
                    <a:lnTo>
                      <a:pt x="717" y="784"/>
                    </a:lnTo>
                    <a:lnTo>
                      <a:pt x="717" y="784"/>
                    </a:lnTo>
                    <a:lnTo>
                      <a:pt x="717" y="783"/>
                    </a:lnTo>
                    <a:lnTo>
                      <a:pt x="719" y="782"/>
                    </a:lnTo>
                    <a:lnTo>
                      <a:pt x="721" y="781"/>
                    </a:lnTo>
                    <a:lnTo>
                      <a:pt x="724" y="778"/>
                    </a:lnTo>
                    <a:lnTo>
                      <a:pt x="728" y="774"/>
                    </a:lnTo>
                    <a:lnTo>
                      <a:pt x="734" y="770"/>
                    </a:lnTo>
                    <a:lnTo>
                      <a:pt x="742" y="764"/>
                    </a:lnTo>
                    <a:lnTo>
                      <a:pt x="751" y="757"/>
                    </a:lnTo>
                    <a:lnTo>
                      <a:pt x="762" y="748"/>
                    </a:lnTo>
                    <a:lnTo>
                      <a:pt x="775" y="738"/>
                    </a:lnTo>
                    <a:lnTo>
                      <a:pt x="791" y="726"/>
                    </a:lnTo>
                    <a:lnTo>
                      <a:pt x="810" y="710"/>
                    </a:lnTo>
                    <a:lnTo>
                      <a:pt x="831" y="694"/>
                    </a:lnTo>
                    <a:lnTo>
                      <a:pt x="856" y="675"/>
                    </a:lnTo>
                    <a:lnTo>
                      <a:pt x="883" y="653"/>
                    </a:lnTo>
                    <a:lnTo>
                      <a:pt x="914" y="628"/>
                    </a:lnTo>
                    <a:lnTo>
                      <a:pt x="948" y="602"/>
                    </a:lnTo>
                    <a:lnTo>
                      <a:pt x="987" y="571"/>
                    </a:lnTo>
                    <a:lnTo>
                      <a:pt x="1030" y="538"/>
                    </a:lnTo>
                    <a:lnTo>
                      <a:pt x="1030" y="536"/>
                    </a:lnTo>
                    <a:lnTo>
                      <a:pt x="1030" y="533"/>
                    </a:lnTo>
                    <a:lnTo>
                      <a:pt x="1030" y="529"/>
                    </a:lnTo>
                    <a:lnTo>
                      <a:pt x="1030" y="311"/>
                    </a:lnTo>
                    <a:lnTo>
                      <a:pt x="1030" y="262"/>
                    </a:lnTo>
                    <a:lnTo>
                      <a:pt x="1030" y="207"/>
                    </a:lnTo>
                    <a:lnTo>
                      <a:pt x="1030" y="145"/>
                    </a:lnTo>
                    <a:lnTo>
                      <a:pt x="1030" y="0"/>
                    </a:lnTo>
                    <a:lnTo>
                      <a:pt x="1030" y="0"/>
                    </a:lnTo>
                    <a:lnTo>
                      <a:pt x="1031" y="0"/>
                    </a:lnTo>
                    <a:lnTo>
                      <a:pt x="1033" y="0"/>
                    </a:lnTo>
                    <a:lnTo>
                      <a:pt x="1038" y="0"/>
                    </a:lnTo>
                    <a:lnTo>
                      <a:pt x="1045" y="0"/>
                    </a:lnTo>
                    <a:lnTo>
                      <a:pt x="1056" y="0"/>
                    </a:lnTo>
                    <a:lnTo>
                      <a:pt x="1071" y="0"/>
                    </a:lnTo>
                    <a:lnTo>
                      <a:pt x="1092" y="0"/>
                    </a:lnTo>
                    <a:lnTo>
                      <a:pt x="1118" y="0"/>
                    </a:lnTo>
                    <a:lnTo>
                      <a:pt x="1151" y="0"/>
                    </a:lnTo>
                    <a:lnTo>
                      <a:pt x="1191" y="0"/>
                    </a:lnTo>
                    <a:lnTo>
                      <a:pt x="1191" y="426"/>
                    </a:lnTo>
                    <a:lnTo>
                      <a:pt x="1193" y="426"/>
                    </a:lnTo>
                    <a:lnTo>
                      <a:pt x="1197" y="426"/>
                    </a:lnTo>
                    <a:lnTo>
                      <a:pt x="1202" y="426"/>
                    </a:lnTo>
                    <a:lnTo>
                      <a:pt x="1210" y="426"/>
                    </a:lnTo>
                    <a:lnTo>
                      <a:pt x="1221" y="426"/>
                    </a:lnTo>
                    <a:lnTo>
                      <a:pt x="1256" y="426"/>
                    </a:lnTo>
                    <a:lnTo>
                      <a:pt x="1279" y="426"/>
                    </a:lnTo>
                    <a:lnTo>
                      <a:pt x="1309" y="426"/>
                    </a:lnTo>
                    <a:lnTo>
                      <a:pt x="1344" y="426"/>
                    </a:lnTo>
                    <a:lnTo>
                      <a:pt x="1434" y="426"/>
                    </a:lnTo>
                    <a:lnTo>
                      <a:pt x="1434" y="426"/>
                    </a:lnTo>
                    <a:lnTo>
                      <a:pt x="1434" y="426"/>
                    </a:lnTo>
                    <a:lnTo>
                      <a:pt x="1433" y="426"/>
                    </a:lnTo>
                    <a:lnTo>
                      <a:pt x="1433" y="427"/>
                    </a:lnTo>
                    <a:lnTo>
                      <a:pt x="1431" y="428"/>
                    </a:lnTo>
                    <a:lnTo>
                      <a:pt x="1429" y="430"/>
                    </a:lnTo>
                    <a:lnTo>
                      <a:pt x="1426" y="432"/>
                    </a:lnTo>
                    <a:lnTo>
                      <a:pt x="1422" y="435"/>
                    </a:lnTo>
                    <a:lnTo>
                      <a:pt x="1417" y="439"/>
                    </a:lnTo>
                    <a:lnTo>
                      <a:pt x="1409" y="444"/>
                    </a:lnTo>
                    <a:lnTo>
                      <a:pt x="1402" y="450"/>
                    </a:lnTo>
                    <a:lnTo>
                      <a:pt x="1392" y="457"/>
                    </a:lnTo>
                    <a:lnTo>
                      <a:pt x="1381" y="466"/>
                    </a:lnTo>
                    <a:lnTo>
                      <a:pt x="1368" y="477"/>
                    </a:lnTo>
                    <a:lnTo>
                      <a:pt x="1352" y="489"/>
                    </a:lnTo>
                    <a:lnTo>
                      <a:pt x="1335" y="502"/>
                    </a:lnTo>
                    <a:lnTo>
                      <a:pt x="1316" y="517"/>
                    </a:lnTo>
                    <a:lnTo>
                      <a:pt x="1293" y="534"/>
                    </a:lnTo>
                    <a:lnTo>
                      <a:pt x="1269" y="554"/>
                    </a:lnTo>
                    <a:lnTo>
                      <a:pt x="1241" y="575"/>
                    </a:lnTo>
                    <a:lnTo>
                      <a:pt x="1211" y="600"/>
                    </a:lnTo>
                    <a:lnTo>
                      <a:pt x="1177" y="625"/>
                    </a:lnTo>
                    <a:lnTo>
                      <a:pt x="1141" y="653"/>
                    </a:lnTo>
                    <a:lnTo>
                      <a:pt x="1101" y="685"/>
                    </a:lnTo>
                    <a:lnTo>
                      <a:pt x="1058" y="719"/>
                    </a:lnTo>
                    <a:lnTo>
                      <a:pt x="1010" y="755"/>
                    </a:lnTo>
                    <a:lnTo>
                      <a:pt x="960" y="795"/>
                    </a:lnTo>
                    <a:lnTo>
                      <a:pt x="905" y="838"/>
                    </a:lnTo>
                    <a:lnTo>
                      <a:pt x="846" y="883"/>
                    </a:lnTo>
                    <a:lnTo>
                      <a:pt x="784" y="932"/>
                    </a:lnTo>
                    <a:lnTo>
                      <a:pt x="717" y="985"/>
                    </a:lnTo>
                    <a:lnTo>
                      <a:pt x="717" y="985"/>
                    </a:lnTo>
                    <a:lnTo>
                      <a:pt x="716" y="985"/>
                    </a:lnTo>
                    <a:lnTo>
                      <a:pt x="716" y="984"/>
                    </a:lnTo>
                    <a:lnTo>
                      <a:pt x="715" y="984"/>
                    </a:lnTo>
                    <a:lnTo>
                      <a:pt x="714" y="982"/>
                    </a:lnTo>
                    <a:lnTo>
                      <a:pt x="711" y="981"/>
                    </a:lnTo>
                    <a:lnTo>
                      <a:pt x="708" y="978"/>
                    </a:lnTo>
                    <a:lnTo>
                      <a:pt x="704" y="975"/>
                    </a:lnTo>
                    <a:lnTo>
                      <a:pt x="699" y="971"/>
                    </a:lnTo>
                    <a:lnTo>
                      <a:pt x="693" y="966"/>
                    </a:lnTo>
                    <a:lnTo>
                      <a:pt x="685" y="960"/>
                    </a:lnTo>
                    <a:lnTo>
                      <a:pt x="675" y="952"/>
                    </a:lnTo>
                    <a:lnTo>
                      <a:pt x="664" y="943"/>
                    </a:lnTo>
                    <a:lnTo>
                      <a:pt x="651" y="933"/>
                    </a:lnTo>
                    <a:lnTo>
                      <a:pt x="636" y="921"/>
                    </a:lnTo>
                    <a:lnTo>
                      <a:pt x="618" y="908"/>
                    </a:lnTo>
                    <a:lnTo>
                      <a:pt x="599" y="892"/>
                    </a:lnTo>
                    <a:lnTo>
                      <a:pt x="577" y="875"/>
                    </a:lnTo>
                    <a:lnTo>
                      <a:pt x="552" y="856"/>
                    </a:lnTo>
                    <a:lnTo>
                      <a:pt x="525" y="834"/>
                    </a:lnTo>
                    <a:lnTo>
                      <a:pt x="494" y="811"/>
                    </a:lnTo>
                    <a:lnTo>
                      <a:pt x="461" y="785"/>
                    </a:lnTo>
                    <a:lnTo>
                      <a:pt x="424" y="756"/>
                    </a:lnTo>
                    <a:lnTo>
                      <a:pt x="384" y="725"/>
                    </a:lnTo>
                    <a:lnTo>
                      <a:pt x="341" y="691"/>
                    </a:lnTo>
                    <a:lnTo>
                      <a:pt x="295" y="654"/>
                    </a:lnTo>
                    <a:lnTo>
                      <a:pt x="244" y="615"/>
                    </a:lnTo>
                    <a:lnTo>
                      <a:pt x="189" y="572"/>
                    </a:lnTo>
                    <a:lnTo>
                      <a:pt x="131" y="526"/>
                    </a:lnTo>
                    <a:lnTo>
                      <a:pt x="68" y="478"/>
                    </a:lnTo>
                    <a:lnTo>
                      <a:pt x="0" y="426"/>
                    </a:lnTo>
                    <a:lnTo>
                      <a:pt x="3" y="426"/>
                    </a:lnTo>
                    <a:lnTo>
                      <a:pt x="6" y="426"/>
                    </a:lnTo>
                    <a:lnTo>
                      <a:pt x="12" y="426"/>
                    </a:lnTo>
                    <a:lnTo>
                      <a:pt x="20" y="426"/>
                    </a:lnTo>
                    <a:lnTo>
                      <a:pt x="31" y="426"/>
                    </a:lnTo>
                    <a:lnTo>
                      <a:pt x="65" y="426"/>
                    </a:lnTo>
                    <a:lnTo>
                      <a:pt x="89" y="426"/>
                    </a:lnTo>
                    <a:lnTo>
                      <a:pt x="118" y="426"/>
                    </a:lnTo>
                    <a:lnTo>
                      <a:pt x="153" y="426"/>
                    </a:lnTo>
                    <a:lnTo>
                      <a:pt x="243" y="426"/>
                    </a:lnTo>
                    <a:lnTo>
                      <a:pt x="243" y="424"/>
                    </a:lnTo>
                    <a:lnTo>
                      <a:pt x="243" y="421"/>
                    </a:lnTo>
                    <a:lnTo>
                      <a:pt x="243" y="417"/>
                    </a:lnTo>
                    <a:lnTo>
                      <a:pt x="243" y="409"/>
                    </a:lnTo>
                    <a:lnTo>
                      <a:pt x="243" y="328"/>
                    </a:lnTo>
                    <a:lnTo>
                      <a:pt x="243" y="300"/>
                    </a:lnTo>
                    <a:lnTo>
                      <a:pt x="243" y="225"/>
                    </a:lnTo>
                    <a:lnTo>
                      <a:pt x="243" y="179"/>
                    </a:lnTo>
                    <a:lnTo>
                      <a:pt x="243" y="0"/>
                    </a:lnTo>
                    <a:lnTo>
                      <a:pt x="243" y="0"/>
                    </a:lnTo>
                    <a:lnTo>
                      <a:pt x="244" y="0"/>
                    </a:lnTo>
                    <a:lnTo>
                      <a:pt x="246" y="0"/>
                    </a:lnTo>
                    <a:lnTo>
                      <a:pt x="251" y="0"/>
                    </a:lnTo>
                    <a:lnTo>
                      <a:pt x="258" y="0"/>
                    </a:lnTo>
                    <a:lnTo>
                      <a:pt x="269"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3" name="Freeform 134">
                <a:extLst>
                  <a:ext uri="{FF2B5EF4-FFF2-40B4-BE49-F238E27FC236}">
                    <a16:creationId xmlns:a16="http://schemas.microsoft.com/office/drawing/2014/main" id="{5DF52358-F276-4E89-9EDA-289DD14E2BB8}"/>
                  </a:ext>
                </a:extLst>
              </p:cNvPr>
              <p:cNvSpPr>
                <a:spLocks noEditPoints="1"/>
              </p:cNvSpPr>
              <p:nvPr/>
            </p:nvSpPr>
            <p:spPr bwMode="auto">
              <a:xfrm>
                <a:off x="-752475" y="2144713"/>
                <a:ext cx="1331913" cy="712788"/>
              </a:xfrm>
              <a:custGeom>
                <a:avLst/>
                <a:gdLst>
                  <a:gd name="T0" fmla="*/ 1161 w 3355"/>
                  <a:gd name="T1" fmla="*/ 1000 h 1795"/>
                  <a:gd name="T2" fmla="*/ 1138 w 3355"/>
                  <a:gd name="T3" fmla="*/ 1086 h 1795"/>
                  <a:gd name="T4" fmla="*/ 1147 w 3355"/>
                  <a:gd name="T5" fmla="*/ 1189 h 1795"/>
                  <a:gd name="T6" fmla="*/ 1263 w 3355"/>
                  <a:gd name="T7" fmla="*/ 1175 h 1795"/>
                  <a:gd name="T8" fmla="*/ 1243 w 3355"/>
                  <a:gd name="T9" fmla="*/ 1386 h 1795"/>
                  <a:gd name="T10" fmla="*/ 1120 w 3355"/>
                  <a:gd name="T11" fmla="*/ 1454 h 1795"/>
                  <a:gd name="T12" fmla="*/ 1157 w 3355"/>
                  <a:gd name="T13" fmla="*/ 1535 h 1795"/>
                  <a:gd name="T14" fmla="*/ 1233 w 3355"/>
                  <a:gd name="T15" fmla="*/ 1571 h 1795"/>
                  <a:gd name="T16" fmla="*/ 1592 w 3355"/>
                  <a:gd name="T17" fmla="*/ 1369 h 1795"/>
                  <a:gd name="T18" fmla="*/ 2109 w 3355"/>
                  <a:gd name="T19" fmla="*/ 1562 h 1795"/>
                  <a:gd name="T20" fmla="*/ 2197 w 3355"/>
                  <a:gd name="T21" fmla="*/ 1538 h 1795"/>
                  <a:gd name="T22" fmla="*/ 2232 w 3355"/>
                  <a:gd name="T23" fmla="*/ 1436 h 1795"/>
                  <a:gd name="T24" fmla="*/ 2102 w 3355"/>
                  <a:gd name="T25" fmla="*/ 1388 h 1795"/>
                  <a:gd name="T26" fmla="*/ 2075 w 3355"/>
                  <a:gd name="T27" fmla="*/ 1175 h 1795"/>
                  <a:gd name="T28" fmla="*/ 2182 w 3355"/>
                  <a:gd name="T29" fmla="*/ 1194 h 1795"/>
                  <a:gd name="T30" fmla="*/ 2232 w 3355"/>
                  <a:gd name="T31" fmla="*/ 1117 h 1795"/>
                  <a:gd name="T32" fmla="*/ 2195 w 3355"/>
                  <a:gd name="T33" fmla="*/ 1006 h 1795"/>
                  <a:gd name="T34" fmla="*/ 2135 w 3355"/>
                  <a:gd name="T35" fmla="*/ 929 h 1795"/>
                  <a:gd name="T36" fmla="*/ 2038 w 3355"/>
                  <a:gd name="T37" fmla="*/ 1020 h 1795"/>
                  <a:gd name="T38" fmla="*/ 1357 w 3355"/>
                  <a:gd name="T39" fmla="*/ 1060 h 1795"/>
                  <a:gd name="T40" fmla="*/ 1291 w 3355"/>
                  <a:gd name="T41" fmla="*/ 964 h 1795"/>
                  <a:gd name="T42" fmla="*/ 1598 w 3355"/>
                  <a:gd name="T43" fmla="*/ 207 h 1795"/>
                  <a:gd name="T44" fmla="*/ 1477 w 3355"/>
                  <a:gd name="T45" fmla="*/ 252 h 1795"/>
                  <a:gd name="T46" fmla="*/ 1368 w 3355"/>
                  <a:gd name="T47" fmla="*/ 345 h 1795"/>
                  <a:gd name="T48" fmla="*/ 1325 w 3355"/>
                  <a:gd name="T49" fmla="*/ 428 h 1795"/>
                  <a:gd name="T50" fmla="*/ 1331 w 3355"/>
                  <a:gd name="T51" fmla="*/ 683 h 1795"/>
                  <a:gd name="T52" fmla="*/ 1336 w 3355"/>
                  <a:gd name="T53" fmla="*/ 817 h 1795"/>
                  <a:gd name="T54" fmla="*/ 1388 w 3355"/>
                  <a:gd name="T55" fmla="*/ 899 h 1795"/>
                  <a:gd name="T56" fmla="*/ 1405 w 3355"/>
                  <a:gd name="T57" fmla="*/ 910 h 1795"/>
                  <a:gd name="T58" fmla="*/ 1511 w 3355"/>
                  <a:gd name="T59" fmla="*/ 939 h 1795"/>
                  <a:gd name="T60" fmla="*/ 1555 w 3355"/>
                  <a:gd name="T61" fmla="*/ 1053 h 1795"/>
                  <a:gd name="T62" fmla="*/ 1611 w 3355"/>
                  <a:gd name="T63" fmla="*/ 1012 h 1795"/>
                  <a:gd name="T64" fmla="*/ 1629 w 3355"/>
                  <a:gd name="T65" fmla="*/ 1032 h 1795"/>
                  <a:gd name="T66" fmla="*/ 1698 w 3355"/>
                  <a:gd name="T67" fmla="*/ 1036 h 1795"/>
                  <a:gd name="T68" fmla="*/ 1720 w 3355"/>
                  <a:gd name="T69" fmla="*/ 1007 h 1795"/>
                  <a:gd name="T70" fmla="*/ 1778 w 3355"/>
                  <a:gd name="T71" fmla="*/ 1038 h 1795"/>
                  <a:gd name="T72" fmla="*/ 1806 w 3355"/>
                  <a:gd name="T73" fmla="*/ 1005 h 1795"/>
                  <a:gd name="T74" fmla="*/ 1827 w 3355"/>
                  <a:gd name="T75" fmla="*/ 1048 h 1795"/>
                  <a:gd name="T76" fmla="*/ 1857 w 3355"/>
                  <a:gd name="T77" fmla="*/ 967 h 1795"/>
                  <a:gd name="T78" fmla="*/ 1955 w 3355"/>
                  <a:gd name="T79" fmla="*/ 915 h 1795"/>
                  <a:gd name="T80" fmla="*/ 2009 w 3355"/>
                  <a:gd name="T81" fmla="*/ 780 h 1795"/>
                  <a:gd name="T82" fmla="*/ 2037 w 3355"/>
                  <a:gd name="T83" fmla="*/ 699 h 1795"/>
                  <a:gd name="T84" fmla="*/ 2043 w 3355"/>
                  <a:gd name="T85" fmla="*/ 488 h 1795"/>
                  <a:gd name="T86" fmla="*/ 2023 w 3355"/>
                  <a:gd name="T87" fmla="*/ 418 h 1795"/>
                  <a:gd name="T88" fmla="*/ 1946 w 3355"/>
                  <a:gd name="T89" fmla="*/ 299 h 1795"/>
                  <a:gd name="T90" fmla="*/ 1849 w 3355"/>
                  <a:gd name="T91" fmla="*/ 230 h 1795"/>
                  <a:gd name="T92" fmla="*/ 1743 w 3355"/>
                  <a:gd name="T93" fmla="*/ 2 h 1795"/>
                  <a:gd name="T94" fmla="*/ 2347 w 3355"/>
                  <a:gd name="T95" fmla="*/ 255 h 1795"/>
                  <a:gd name="T96" fmla="*/ 2603 w 3355"/>
                  <a:gd name="T97" fmla="*/ 417 h 1795"/>
                  <a:gd name="T98" fmla="*/ 3004 w 3355"/>
                  <a:gd name="T99" fmla="*/ 495 h 1795"/>
                  <a:gd name="T100" fmla="*/ 3336 w 3355"/>
                  <a:gd name="T101" fmla="*/ 917 h 1795"/>
                  <a:gd name="T102" fmla="*/ 3235 w 3355"/>
                  <a:gd name="T103" fmla="*/ 1521 h 1795"/>
                  <a:gd name="T104" fmla="*/ 2821 w 3355"/>
                  <a:gd name="T105" fmla="*/ 1783 h 1795"/>
                  <a:gd name="T106" fmla="*/ 1497 w 3355"/>
                  <a:gd name="T107" fmla="*/ 1795 h 1795"/>
                  <a:gd name="T108" fmla="*/ 320 w 3355"/>
                  <a:gd name="T109" fmla="*/ 1733 h 1795"/>
                  <a:gd name="T110" fmla="*/ 10 w 3355"/>
                  <a:gd name="T111" fmla="*/ 1326 h 1795"/>
                  <a:gd name="T112" fmla="*/ 121 w 3355"/>
                  <a:gd name="T113" fmla="*/ 804 h 1795"/>
                  <a:gd name="T114" fmla="*/ 480 w 3355"/>
                  <a:gd name="T115" fmla="*/ 614 h 1795"/>
                  <a:gd name="T116" fmla="*/ 774 w 3355"/>
                  <a:gd name="T117" fmla="*/ 610 h 1795"/>
                  <a:gd name="T118" fmla="*/ 1290 w 3355"/>
                  <a:gd name="T119" fmla="*/ 69 h 1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55" h="1795">
                    <a:moveTo>
                      <a:pt x="1215" y="927"/>
                    </a:moveTo>
                    <a:lnTo>
                      <a:pt x="1202" y="929"/>
                    </a:lnTo>
                    <a:lnTo>
                      <a:pt x="1188" y="933"/>
                    </a:lnTo>
                    <a:lnTo>
                      <a:pt x="1181" y="937"/>
                    </a:lnTo>
                    <a:lnTo>
                      <a:pt x="1174" y="943"/>
                    </a:lnTo>
                    <a:lnTo>
                      <a:pt x="1168" y="949"/>
                    </a:lnTo>
                    <a:lnTo>
                      <a:pt x="1164" y="958"/>
                    </a:lnTo>
                    <a:lnTo>
                      <a:pt x="1161" y="968"/>
                    </a:lnTo>
                    <a:lnTo>
                      <a:pt x="1160" y="978"/>
                    </a:lnTo>
                    <a:lnTo>
                      <a:pt x="1160" y="989"/>
                    </a:lnTo>
                    <a:lnTo>
                      <a:pt x="1161" y="1000"/>
                    </a:lnTo>
                    <a:lnTo>
                      <a:pt x="1164" y="1019"/>
                    </a:lnTo>
                    <a:lnTo>
                      <a:pt x="1168" y="1037"/>
                    </a:lnTo>
                    <a:lnTo>
                      <a:pt x="1175" y="1057"/>
                    </a:lnTo>
                    <a:lnTo>
                      <a:pt x="1164" y="1064"/>
                    </a:lnTo>
                    <a:lnTo>
                      <a:pt x="1154" y="1072"/>
                    </a:lnTo>
                    <a:lnTo>
                      <a:pt x="1144" y="1081"/>
                    </a:lnTo>
                    <a:lnTo>
                      <a:pt x="1142" y="1081"/>
                    </a:lnTo>
                    <a:lnTo>
                      <a:pt x="1141" y="1082"/>
                    </a:lnTo>
                    <a:lnTo>
                      <a:pt x="1140" y="1083"/>
                    </a:lnTo>
                    <a:lnTo>
                      <a:pt x="1139" y="1084"/>
                    </a:lnTo>
                    <a:lnTo>
                      <a:pt x="1138" y="1086"/>
                    </a:lnTo>
                    <a:lnTo>
                      <a:pt x="1137" y="1088"/>
                    </a:lnTo>
                    <a:lnTo>
                      <a:pt x="1129" y="1099"/>
                    </a:lnTo>
                    <a:lnTo>
                      <a:pt x="1123" y="1114"/>
                    </a:lnTo>
                    <a:lnTo>
                      <a:pt x="1120" y="1127"/>
                    </a:lnTo>
                    <a:lnTo>
                      <a:pt x="1120" y="1142"/>
                    </a:lnTo>
                    <a:lnTo>
                      <a:pt x="1121" y="1156"/>
                    </a:lnTo>
                    <a:lnTo>
                      <a:pt x="1125" y="1166"/>
                    </a:lnTo>
                    <a:lnTo>
                      <a:pt x="1130" y="1173"/>
                    </a:lnTo>
                    <a:lnTo>
                      <a:pt x="1136" y="1179"/>
                    </a:lnTo>
                    <a:lnTo>
                      <a:pt x="1141" y="1185"/>
                    </a:lnTo>
                    <a:lnTo>
                      <a:pt x="1147" y="1189"/>
                    </a:lnTo>
                    <a:lnTo>
                      <a:pt x="1155" y="1192"/>
                    </a:lnTo>
                    <a:lnTo>
                      <a:pt x="1162" y="1194"/>
                    </a:lnTo>
                    <a:lnTo>
                      <a:pt x="1163" y="1194"/>
                    </a:lnTo>
                    <a:lnTo>
                      <a:pt x="1176" y="1195"/>
                    </a:lnTo>
                    <a:lnTo>
                      <a:pt x="1191" y="1196"/>
                    </a:lnTo>
                    <a:lnTo>
                      <a:pt x="1201" y="1196"/>
                    </a:lnTo>
                    <a:lnTo>
                      <a:pt x="1213" y="1194"/>
                    </a:lnTo>
                    <a:lnTo>
                      <a:pt x="1224" y="1189"/>
                    </a:lnTo>
                    <a:lnTo>
                      <a:pt x="1236" y="1183"/>
                    </a:lnTo>
                    <a:lnTo>
                      <a:pt x="1248" y="1179"/>
                    </a:lnTo>
                    <a:lnTo>
                      <a:pt x="1263" y="1175"/>
                    </a:lnTo>
                    <a:lnTo>
                      <a:pt x="1277" y="1175"/>
                    </a:lnTo>
                    <a:lnTo>
                      <a:pt x="1287" y="1175"/>
                    </a:lnTo>
                    <a:lnTo>
                      <a:pt x="1296" y="1177"/>
                    </a:lnTo>
                    <a:lnTo>
                      <a:pt x="1362" y="1198"/>
                    </a:lnTo>
                    <a:lnTo>
                      <a:pt x="1427" y="1220"/>
                    </a:lnTo>
                    <a:lnTo>
                      <a:pt x="1493" y="1246"/>
                    </a:lnTo>
                    <a:lnTo>
                      <a:pt x="1556" y="1273"/>
                    </a:lnTo>
                    <a:lnTo>
                      <a:pt x="1283" y="1402"/>
                    </a:lnTo>
                    <a:lnTo>
                      <a:pt x="1271" y="1396"/>
                    </a:lnTo>
                    <a:lnTo>
                      <a:pt x="1261" y="1391"/>
                    </a:lnTo>
                    <a:lnTo>
                      <a:pt x="1243" y="1386"/>
                    </a:lnTo>
                    <a:lnTo>
                      <a:pt x="1227" y="1384"/>
                    </a:lnTo>
                    <a:lnTo>
                      <a:pt x="1212" y="1384"/>
                    </a:lnTo>
                    <a:lnTo>
                      <a:pt x="1195" y="1387"/>
                    </a:lnTo>
                    <a:lnTo>
                      <a:pt x="1181" y="1391"/>
                    </a:lnTo>
                    <a:lnTo>
                      <a:pt x="1168" y="1396"/>
                    </a:lnTo>
                    <a:lnTo>
                      <a:pt x="1156" y="1404"/>
                    </a:lnTo>
                    <a:lnTo>
                      <a:pt x="1144" y="1414"/>
                    </a:lnTo>
                    <a:lnTo>
                      <a:pt x="1134" y="1424"/>
                    </a:lnTo>
                    <a:lnTo>
                      <a:pt x="1126" y="1436"/>
                    </a:lnTo>
                    <a:lnTo>
                      <a:pt x="1122" y="1445"/>
                    </a:lnTo>
                    <a:lnTo>
                      <a:pt x="1120" y="1454"/>
                    </a:lnTo>
                    <a:lnTo>
                      <a:pt x="1121" y="1463"/>
                    </a:lnTo>
                    <a:lnTo>
                      <a:pt x="1124" y="1473"/>
                    </a:lnTo>
                    <a:lnTo>
                      <a:pt x="1130" y="1481"/>
                    </a:lnTo>
                    <a:lnTo>
                      <a:pt x="1137" y="1488"/>
                    </a:lnTo>
                    <a:lnTo>
                      <a:pt x="1145" y="1495"/>
                    </a:lnTo>
                    <a:lnTo>
                      <a:pt x="1155" y="1500"/>
                    </a:lnTo>
                    <a:lnTo>
                      <a:pt x="1154" y="1507"/>
                    </a:lnTo>
                    <a:lnTo>
                      <a:pt x="1154" y="1513"/>
                    </a:lnTo>
                    <a:lnTo>
                      <a:pt x="1155" y="1521"/>
                    </a:lnTo>
                    <a:lnTo>
                      <a:pt x="1156" y="1528"/>
                    </a:lnTo>
                    <a:lnTo>
                      <a:pt x="1157" y="1535"/>
                    </a:lnTo>
                    <a:lnTo>
                      <a:pt x="1161" y="1542"/>
                    </a:lnTo>
                    <a:lnTo>
                      <a:pt x="1166" y="1551"/>
                    </a:lnTo>
                    <a:lnTo>
                      <a:pt x="1172" y="1558"/>
                    </a:lnTo>
                    <a:lnTo>
                      <a:pt x="1178" y="1564"/>
                    </a:lnTo>
                    <a:lnTo>
                      <a:pt x="1186" y="1569"/>
                    </a:lnTo>
                    <a:lnTo>
                      <a:pt x="1195" y="1573"/>
                    </a:lnTo>
                    <a:lnTo>
                      <a:pt x="1206" y="1575"/>
                    </a:lnTo>
                    <a:lnTo>
                      <a:pt x="1217" y="1575"/>
                    </a:lnTo>
                    <a:lnTo>
                      <a:pt x="1223" y="1575"/>
                    </a:lnTo>
                    <a:lnTo>
                      <a:pt x="1228" y="1573"/>
                    </a:lnTo>
                    <a:lnTo>
                      <a:pt x="1233" y="1571"/>
                    </a:lnTo>
                    <a:lnTo>
                      <a:pt x="1243" y="1565"/>
                    </a:lnTo>
                    <a:lnTo>
                      <a:pt x="1252" y="1558"/>
                    </a:lnTo>
                    <a:lnTo>
                      <a:pt x="1262" y="1549"/>
                    </a:lnTo>
                    <a:lnTo>
                      <a:pt x="1274" y="1534"/>
                    </a:lnTo>
                    <a:lnTo>
                      <a:pt x="1288" y="1519"/>
                    </a:lnTo>
                    <a:lnTo>
                      <a:pt x="1302" y="1507"/>
                    </a:lnTo>
                    <a:lnTo>
                      <a:pt x="1319" y="1496"/>
                    </a:lnTo>
                    <a:lnTo>
                      <a:pt x="1336" y="1487"/>
                    </a:lnTo>
                    <a:lnTo>
                      <a:pt x="1422" y="1448"/>
                    </a:lnTo>
                    <a:lnTo>
                      <a:pt x="1508" y="1410"/>
                    </a:lnTo>
                    <a:lnTo>
                      <a:pt x="1592" y="1369"/>
                    </a:lnTo>
                    <a:lnTo>
                      <a:pt x="1678" y="1329"/>
                    </a:lnTo>
                    <a:lnTo>
                      <a:pt x="1791" y="1383"/>
                    </a:lnTo>
                    <a:lnTo>
                      <a:pt x="1905" y="1436"/>
                    </a:lnTo>
                    <a:lnTo>
                      <a:pt x="2020" y="1489"/>
                    </a:lnTo>
                    <a:lnTo>
                      <a:pt x="2033" y="1495"/>
                    </a:lnTo>
                    <a:lnTo>
                      <a:pt x="2047" y="1502"/>
                    </a:lnTo>
                    <a:lnTo>
                      <a:pt x="2059" y="1511"/>
                    </a:lnTo>
                    <a:lnTo>
                      <a:pt x="2076" y="1526"/>
                    </a:lnTo>
                    <a:lnTo>
                      <a:pt x="2091" y="1542"/>
                    </a:lnTo>
                    <a:lnTo>
                      <a:pt x="2108" y="1560"/>
                    </a:lnTo>
                    <a:lnTo>
                      <a:pt x="2109" y="1562"/>
                    </a:lnTo>
                    <a:lnTo>
                      <a:pt x="2111" y="1564"/>
                    </a:lnTo>
                    <a:lnTo>
                      <a:pt x="2113" y="1565"/>
                    </a:lnTo>
                    <a:lnTo>
                      <a:pt x="2124" y="1572"/>
                    </a:lnTo>
                    <a:lnTo>
                      <a:pt x="2135" y="1575"/>
                    </a:lnTo>
                    <a:lnTo>
                      <a:pt x="2146" y="1575"/>
                    </a:lnTo>
                    <a:lnTo>
                      <a:pt x="2159" y="1573"/>
                    </a:lnTo>
                    <a:lnTo>
                      <a:pt x="2168" y="1570"/>
                    </a:lnTo>
                    <a:lnTo>
                      <a:pt x="2177" y="1565"/>
                    </a:lnTo>
                    <a:lnTo>
                      <a:pt x="2184" y="1559"/>
                    </a:lnTo>
                    <a:lnTo>
                      <a:pt x="2192" y="1549"/>
                    </a:lnTo>
                    <a:lnTo>
                      <a:pt x="2197" y="1538"/>
                    </a:lnTo>
                    <a:lnTo>
                      <a:pt x="2200" y="1526"/>
                    </a:lnTo>
                    <a:lnTo>
                      <a:pt x="2201" y="1513"/>
                    </a:lnTo>
                    <a:lnTo>
                      <a:pt x="2200" y="1500"/>
                    </a:lnTo>
                    <a:lnTo>
                      <a:pt x="2208" y="1494"/>
                    </a:lnTo>
                    <a:lnTo>
                      <a:pt x="2218" y="1487"/>
                    </a:lnTo>
                    <a:lnTo>
                      <a:pt x="2226" y="1480"/>
                    </a:lnTo>
                    <a:lnTo>
                      <a:pt x="2231" y="1472"/>
                    </a:lnTo>
                    <a:lnTo>
                      <a:pt x="2234" y="1461"/>
                    </a:lnTo>
                    <a:lnTo>
                      <a:pt x="2236" y="1451"/>
                    </a:lnTo>
                    <a:lnTo>
                      <a:pt x="2235" y="1444"/>
                    </a:lnTo>
                    <a:lnTo>
                      <a:pt x="2232" y="1436"/>
                    </a:lnTo>
                    <a:lnTo>
                      <a:pt x="2229" y="1430"/>
                    </a:lnTo>
                    <a:lnTo>
                      <a:pt x="2221" y="1419"/>
                    </a:lnTo>
                    <a:lnTo>
                      <a:pt x="2211" y="1409"/>
                    </a:lnTo>
                    <a:lnTo>
                      <a:pt x="2200" y="1400"/>
                    </a:lnTo>
                    <a:lnTo>
                      <a:pt x="2188" y="1393"/>
                    </a:lnTo>
                    <a:lnTo>
                      <a:pt x="2175" y="1388"/>
                    </a:lnTo>
                    <a:lnTo>
                      <a:pt x="2162" y="1384"/>
                    </a:lnTo>
                    <a:lnTo>
                      <a:pt x="2148" y="1382"/>
                    </a:lnTo>
                    <a:lnTo>
                      <a:pt x="2133" y="1383"/>
                    </a:lnTo>
                    <a:lnTo>
                      <a:pt x="2118" y="1385"/>
                    </a:lnTo>
                    <a:lnTo>
                      <a:pt x="2102" y="1388"/>
                    </a:lnTo>
                    <a:lnTo>
                      <a:pt x="2087" y="1394"/>
                    </a:lnTo>
                    <a:lnTo>
                      <a:pt x="2072" y="1402"/>
                    </a:lnTo>
                    <a:lnTo>
                      <a:pt x="1798" y="1273"/>
                    </a:lnTo>
                    <a:lnTo>
                      <a:pt x="1850" y="1251"/>
                    </a:lnTo>
                    <a:lnTo>
                      <a:pt x="1901" y="1231"/>
                    </a:lnTo>
                    <a:lnTo>
                      <a:pt x="1953" y="1210"/>
                    </a:lnTo>
                    <a:lnTo>
                      <a:pt x="2004" y="1192"/>
                    </a:lnTo>
                    <a:lnTo>
                      <a:pt x="2023" y="1187"/>
                    </a:lnTo>
                    <a:lnTo>
                      <a:pt x="2042" y="1181"/>
                    </a:lnTo>
                    <a:lnTo>
                      <a:pt x="2059" y="1177"/>
                    </a:lnTo>
                    <a:lnTo>
                      <a:pt x="2075" y="1175"/>
                    </a:lnTo>
                    <a:lnTo>
                      <a:pt x="2091" y="1176"/>
                    </a:lnTo>
                    <a:lnTo>
                      <a:pt x="2108" y="1179"/>
                    </a:lnTo>
                    <a:lnTo>
                      <a:pt x="2111" y="1181"/>
                    </a:lnTo>
                    <a:lnTo>
                      <a:pt x="2114" y="1182"/>
                    </a:lnTo>
                    <a:lnTo>
                      <a:pt x="2118" y="1183"/>
                    </a:lnTo>
                    <a:lnTo>
                      <a:pt x="2122" y="1186"/>
                    </a:lnTo>
                    <a:lnTo>
                      <a:pt x="2133" y="1192"/>
                    </a:lnTo>
                    <a:lnTo>
                      <a:pt x="2144" y="1195"/>
                    </a:lnTo>
                    <a:lnTo>
                      <a:pt x="2157" y="1196"/>
                    </a:lnTo>
                    <a:lnTo>
                      <a:pt x="2170" y="1194"/>
                    </a:lnTo>
                    <a:lnTo>
                      <a:pt x="2182" y="1194"/>
                    </a:lnTo>
                    <a:lnTo>
                      <a:pt x="2193" y="1192"/>
                    </a:lnTo>
                    <a:lnTo>
                      <a:pt x="2203" y="1187"/>
                    </a:lnTo>
                    <a:lnTo>
                      <a:pt x="2213" y="1180"/>
                    </a:lnTo>
                    <a:lnTo>
                      <a:pt x="2221" y="1171"/>
                    </a:lnTo>
                    <a:lnTo>
                      <a:pt x="2225" y="1167"/>
                    </a:lnTo>
                    <a:lnTo>
                      <a:pt x="2227" y="1163"/>
                    </a:lnTo>
                    <a:lnTo>
                      <a:pt x="2228" y="1160"/>
                    </a:lnTo>
                    <a:lnTo>
                      <a:pt x="2232" y="1149"/>
                    </a:lnTo>
                    <a:lnTo>
                      <a:pt x="2234" y="1139"/>
                    </a:lnTo>
                    <a:lnTo>
                      <a:pt x="2234" y="1128"/>
                    </a:lnTo>
                    <a:lnTo>
                      <a:pt x="2232" y="1117"/>
                    </a:lnTo>
                    <a:lnTo>
                      <a:pt x="2231" y="1111"/>
                    </a:lnTo>
                    <a:lnTo>
                      <a:pt x="2229" y="1104"/>
                    </a:lnTo>
                    <a:lnTo>
                      <a:pt x="2227" y="1098"/>
                    </a:lnTo>
                    <a:lnTo>
                      <a:pt x="2217" y="1086"/>
                    </a:lnTo>
                    <a:lnTo>
                      <a:pt x="2205" y="1075"/>
                    </a:lnTo>
                    <a:lnTo>
                      <a:pt x="2192" y="1066"/>
                    </a:lnTo>
                    <a:lnTo>
                      <a:pt x="2179" y="1057"/>
                    </a:lnTo>
                    <a:lnTo>
                      <a:pt x="2183" y="1046"/>
                    </a:lnTo>
                    <a:lnTo>
                      <a:pt x="2186" y="1035"/>
                    </a:lnTo>
                    <a:lnTo>
                      <a:pt x="2192" y="1021"/>
                    </a:lnTo>
                    <a:lnTo>
                      <a:pt x="2195" y="1006"/>
                    </a:lnTo>
                    <a:lnTo>
                      <a:pt x="2196" y="993"/>
                    </a:lnTo>
                    <a:lnTo>
                      <a:pt x="2196" y="977"/>
                    </a:lnTo>
                    <a:lnTo>
                      <a:pt x="2196" y="970"/>
                    </a:lnTo>
                    <a:lnTo>
                      <a:pt x="2194" y="962"/>
                    </a:lnTo>
                    <a:lnTo>
                      <a:pt x="2189" y="954"/>
                    </a:lnTo>
                    <a:lnTo>
                      <a:pt x="2184" y="947"/>
                    </a:lnTo>
                    <a:lnTo>
                      <a:pt x="2176" y="939"/>
                    </a:lnTo>
                    <a:lnTo>
                      <a:pt x="2167" y="933"/>
                    </a:lnTo>
                    <a:lnTo>
                      <a:pt x="2157" y="929"/>
                    </a:lnTo>
                    <a:lnTo>
                      <a:pt x="2145" y="928"/>
                    </a:lnTo>
                    <a:lnTo>
                      <a:pt x="2135" y="929"/>
                    </a:lnTo>
                    <a:lnTo>
                      <a:pt x="2123" y="931"/>
                    </a:lnTo>
                    <a:lnTo>
                      <a:pt x="2108" y="937"/>
                    </a:lnTo>
                    <a:lnTo>
                      <a:pt x="2093" y="944"/>
                    </a:lnTo>
                    <a:lnTo>
                      <a:pt x="2080" y="952"/>
                    </a:lnTo>
                    <a:lnTo>
                      <a:pt x="2068" y="962"/>
                    </a:lnTo>
                    <a:lnTo>
                      <a:pt x="2057" y="973"/>
                    </a:lnTo>
                    <a:lnTo>
                      <a:pt x="2055" y="977"/>
                    </a:lnTo>
                    <a:lnTo>
                      <a:pt x="2053" y="980"/>
                    </a:lnTo>
                    <a:lnTo>
                      <a:pt x="2052" y="983"/>
                    </a:lnTo>
                    <a:lnTo>
                      <a:pt x="2046" y="1002"/>
                    </a:lnTo>
                    <a:lnTo>
                      <a:pt x="2038" y="1020"/>
                    </a:lnTo>
                    <a:lnTo>
                      <a:pt x="2029" y="1037"/>
                    </a:lnTo>
                    <a:lnTo>
                      <a:pt x="2027" y="1039"/>
                    </a:lnTo>
                    <a:lnTo>
                      <a:pt x="2025" y="1042"/>
                    </a:lnTo>
                    <a:lnTo>
                      <a:pt x="2022" y="1046"/>
                    </a:lnTo>
                    <a:lnTo>
                      <a:pt x="1998" y="1062"/>
                    </a:lnTo>
                    <a:lnTo>
                      <a:pt x="1973" y="1076"/>
                    </a:lnTo>
                    <a:lnTo>
                      <a:pt x="1948" y="1090"/>
                    </a:lnTo>
                    <a:lnTo>
                      <a:pt x="1678" y="1216"/>
                    </a:lnTo>
                    <a:lnTo>
                      <a:pt x="1407" y="1090"/>
                    </a:lnTo>
                    <a:lnTo>
                      <a:pt x="1382" y="1075"/>
                    </a:lnTo>
                    <a:lnTo>
                      <a:pt x="1357" y="1060"/>
                    </a:lnTo>
                    <a:lnTo>
                      <a:pt x="1332" y="1046"/>
                    </a:lnTo>
                    <a:lnTo>
                      <a:pt x="1331" y="1043"/>
                    </a:lnTo>
                    <a:lnTo>
                      <a:pt x="1330" y="1042"/>
                    </a:lnTo>
                    <a:lnTo>
                      <a:pt x="1329" y="1041"/>
                    </a:lnTo>
                    <a:lnTo>
                      <a:pt x="1328" y="1039"/>
                    </a:lnTo>
                    <a:lnTo>
                      <a:pt x="1318" y="1023"/>
                    </a:lnTo>
                    <a:lnTo>
                      <a:pt x="1310" y="1005"/>
                    </a:lnTo>
                    <a:lnTo>
                      <a:pt x="1303" y="987"/>
                    </a:lnTo>
                    <a:lnTo>
                      <a:pt x="1301" y="978"/>
                    </a:lnTo>
                    <a:lnTo>
                      <a:pt x="1296" y="970"/>
                    </a:lnTo>
                    <a:lnTo>
                      <a:pt x="1291" y="964"/>
                    </a:lnTo>
                    <a:lnTo>
                      <a:pt x="1285" y="959"/>
                    </a:lnTo>
                    <a:lnTo>
                      <a:pt x="1275" y="951"/>
                    </a:lnTo>
                    <a:lnTo>
                      <a:pt x="1265" y="944"/>
                    </a:lnTo>
                    <a:lnTo>
                      <a:pt x="1253" y="938"/>
                    </a:lnTo>
                    <a:lnTo>
                      <a:pt x="1240" y="933"/>
                    </a:lnTo>
                    <a:lnTo>
                      <a:pt x="1228" y="929"/>
                    </a:lnTo>
                    <a:lnTo>
                      <a:pt x="1215" y="927"/>
                    </a:lnTo>
                    <a:close/>
                    <a:moveTo>
                      <a:pt x="1678" y="196"/>
                    </a:moveTo>
                    <a:lnTo>
                      <a:pt x="1649" y="198"/>
                    </a:lnTo>
                    <a:lnTo>
                      <a:pt x="1621" y="201"/>
                    </a:lnTo>
                    <a:lnTo>
                      <a:pt x="1598" y="207"/>
                    </a:lnTo>
                    <a:lnTo>
                      <a:pt x="1575" y="213"/>
                    </a:lnTo>
                    <a:lnTo>
                      <a:pt x="1554" y="220"/>
                    </a:lnTo>
                    <a:lnTo>
                      <a:pt x="1539" y="225"/>
                    </a:lnTo>
                    <a:lnTo>
                      <a:pt x="1525" y="230"/>
                    </a:lnTo>
                    <a:lnTo>
                      <a:pt x="1519" y="232"/>
                    </a:lnTo>
                    <a:lnTo>
                      <a:pt x="1513" y="235"/>
                    </a:lnTo>
                    <a:lnTo>
                      <a:pt x="1507" y="238"/>
                    </a:lnTo>
                    <a:lnTo>
                      <a:pt x="1504" y="239"/>
                    </a:lnTo>
                    <a:lnTo>
                      <a:pt x="1500" y="241"/>
                    </a:lnTo>
                    <a:lnTo>
                      <a:pt x="1496" y="244"/>
                    </a:lnTo>
                    <a:lnTo>
                      <a:pt x="1477" y="252"/>
                    </a:lnTo>
                    <a:lnTo>
                      <a:pt x="1460" y="262"/>
                    </a:lnTo>
                    <a:lnTo>
                      <a:pt x="1443" y="275"/>
                    </a:lnTo>
                    <a:lnTo>
                      <a:pt x="1430" y="284"/>
                    </a:lnTo>
                    <a:lnTo>
                      <a:pt x="1417" y="294"/>
                    </a:lnTo>
                    <a:lnTo>
                      <a:pt x="1405" y="305"/>
                    </a:lnTo>
                    <a:lnTo>
                      <a:pt x="1394" y="315"/>
                    </a:lnTo>
                    <a:lnTo>
                      <a:pt x="1383" y="328"/>
                    </a:lnTo>
                    <a:lnTo>
                      <a:pt x="1371" y="341"/>
                    </a:lnTo>
                    <a:lnTo>
                      <a:pt x="1371" y="342"/>
                    </a:lnTo>
                    <a:lnTo>
                      <a:pt x="1369" y="343"/>
                    </a:lnTo>
                    <a:lnTo>
                      <a:pt x="1368" y="345"/>
                    </a:lnTo>
                    <a:lnTo>
                      <a:pt x="1367" y="346"/>
                    </a:lnTo>
                    <a:lnTo>
                      <a:pt x="1366" y="348"/>
                    </a:lnTo>
                    <a:lnTo>
                      <a:pt x="1357" y="363"/>
                    </a:lnTo>
                    <a:lnTo>
                      <a:pt x="1348" y="378"/>
                    </a:lnTo>
                    <a:lnTo>
                      <a:pt x="1340" y="393"/>
                    </a:lnTo>
                    <a:lnTo>
                      <a:pt x="1334" y="405"/>
                    </a:lnTo>
                    <a:lnTo>
                      <a:pt x="1331" y="412"/>
                    </a:lnTo>
                    <a:lnTo>
                      <a:pt x="1328" y="418"/>
                    </a:lnTo>
                    <a:lnTo>
                      <a:pt x="1325" y="425"/>
                    </a:lnTo>
                    <a:lnTo>
                      <a:pt x="1325" y="426"/>
                    </a:lnTo>
                    <a:lnTo>
                      <a:pt x="1325" y="428"/>
                    </a:lnTo>
                    <a:lnTo>
                      <a:pt x="1324" y="428"/>
                    </a:lnTo>
                    <a:lnTo>
                      <a:pt x="1322" y="435"/>
                    </a:lnTo>
                    <a:lnTo>
                      <a:pt x="1320" y="442"/>
                    </a:lnTo>
                    <a:lnTo>
                      <a:pt x="1313" y="472"/>
                    </a:lnTo>
                    <a:lnTo>
                      <a:pt x="1310" y="501"/>
                    </a:lnTo>
                    <a:lnTo>
                      <a:pt x="1308" y="531"/>
                    </a:lnTo>
                    <a:lnTo>
                      <a:pt x="1309" y="561"/>
                    </a:lnTo>
                    <a:lnTo>
                      <a:pt x="1312" y="592"/>
                    </a:lnTo>
                    <a:lnTo>
                      <a:pt x="1317" y="622"/>
                    </a:lnTo>
                    <a:lnTo>
                      <a:pt x="1324" y="653"/>
                    </a:lnTo>
                    <a:lnTo>
                      <a:pt x="1331" y="683"/>
                    </a:lnTo>
                    <a:lnTo>
                      <a:pt x="1341" y="713"/>
                    </a:lnTo>
                    <a:lnTo>
                      <a:pt x="1353" y="743"/>
                    </a:lnTo>
                    <a:lnTo>
                      <a:pt x="1354" y="756"/>
                    </a:lnTo>
                    <a:lnTo>
                      <a:pt x="1355" y="768"/>
                    </a:lnTo>
                    <a:lnTo>
                      <a:pt x="1354" y="780"/>
                    </a:lnTo>
                    <a:lnTo>
                      <a:pt x="1352" y="792"/>
                    </a:lnTo>
                    <a:lnTo>
                      <a:pt x="1348" y="796"/>
                    </a:lnTo>
                    <a:lnTo>
                      <a:pt x="1344" y="799"/>
                    </a:lnTo>
                    <a:lnTo>
                      <a:pt x="1340" y="803"/>
                    </a:lnTo>
                    <a:lnTo>
                      <a:pt x="1338" y="810"/>
                    </a:lnTo>
                    <a:lnTo>
                      <a:pt x="1336" y="817"/>
                    </a:lnTo>
                    <a:lnTo>
                      <a:pt x="1336" y="825"/>
                    </a:lnTo>
                    <a:lnTo>
                      <a:pt x="1336" y="834"/>
                    </a:lnTo>
                    <a:lnTo>
                      <a:pt x="1337" y="844"/>
                    </a:lnTo>
                    <a:lnTo>
                      <a:pt x="1340" y="853"/>
                    </a:lnTo>
                    <a:lnTo>
                      <a:pt x="1344" y="861"/>
                    </a:lnTo>
                    <a:lnTo>
                      <a:pt x="1351" y="870"/>
                    </a:lnTo>
                    <a:lnTo>
                      <a:pt x="1360" y="879"/>
                    </a:lnTo>
                    <a:lnTo>
                      <a:pt x="1370" y="888"/>
                    </a:lnTo>
                    <a:lnTo>
                      <a:pt x="1384" y="897"/>
                    </a:lnTo>
                    <a:lnTo>
                      <a:pt x="1386" y="898"/>
                    </a:lnTo>
                    <a:lnTo>
                      <a:pt x="1388" y="899"/>
                    </a:lnTo>
                    <a:lnTo>
                      <a:pt x="1391" y="900"/>
                    </a:lnTo>
                    <a:lnTo>
                      <a:pt x="1393" y="901"/>
                    </a:lnTo>
                    <a:lnTo>
                      <a:pt x="1396" y="903"/>
                    </a:lnTo>
                    <a:lnTo>
                      <a:pt x="1398" y="905"/>
                    </a:lnTo>
                    <a:lnTo>
                      <a:pt x="1398" y="906"/>
                    </a:lnTo>
                    <a:lnTo>
                      <a:pt x="1399" y="906"/>
                    </a:lnTo>
                    <a:lnTo>
                      <a:pt x="1401" y="907"/>
                    </a:lnTo>
                    <a:lnTo>
                      <a:pt x="1401" y="907"/>
                    </a:lnTo>
                    <a:lnTo>
                      <a:pt x="1403" y="907"/>
                    </a:lnTo>
                    <a:lnTo>
                      <a:pt x="1403" y="908"/>
                    </a:lnTo>
                    <a:lnTo>
                      <a:pt x="1405" y="910"/>
                    </a:lnTo>
                    <a:lnTo>
                      <a:pt x="1407" y="911"/>
                    </a:lnTo>
                    <a:lnTo>
                      <a:pt x="1411" y="912"/>
                    </a:lnTo>
                    <a:lnTo>
                      <a:pt x="1417" y="914"/>
                    </a:lnTo>
                    <a:lnTo>
                      <a:pt x="1426" y="915"/>
                    </a:lnTo>
                    <a:lnTo>
                      <a:pt x="1438" y="917"/>
                    </a:lnTo>
                    <a:lnTo>
                      <a:pt x="1451" y="919"/>
                    </a:lnTo>
                    <a:lnTo>
                      <a:pt x="1466" y="921"/>
                    </a:lnTo>
                    <a:lnTo>
                      <a:pt x="1485" y="923"/>
                    </a:lnTo>
                    <a:lnTo>
                      <a:pt x="1486" y="923"/>
                    </a:lnTo>
                    <a:lnTo>
                      <a:pt x="1499" y="931"/>
                    </a:lnTo>
                    <a:lnTo>
                      <a:pt x="1511" y="939"/>
                    </a:lnTo>
                    <a:lnTo>
                      <a:pt x="1522" y="948"/>
                    </a:lnTo>
                    <a:lnTo>
                      <a:pt x="1532" y="958"/>
                    </a:lnTo>
                    <a:lnTo>
                      <a:pt x="1532" y="967"/>
                    </a:lnTo>
                    <a:lnTo>
                      <a:pt x="1528" y="982"/>
                    </a:lnTo>
                    <a:lnTo>
                      <a:pt x="1525" y="998"/>
                    </a:lnTo>
                    <a:lnTo>
                      <a:pt x="1525" y="1014"/>
                    </a:lnTo>
                    <a:lnTo>
                      <a:pt x="1527" y="1030"/>
                    </a:lnTo>
                    <a:lnTo>
                      <a:pt x="1531" y="1047"/>
                    </a:lnTo>
                    <a:lnTo>
                      <a:pt x="1533" y="1047"/>
                    </a:lnTo>
                    <a:lnTo>
                      <a:pt x="1545" y="1051"/>
                    </a:lnTo>
                    <a:lnTo>
                      <a:pt x="1555" y="1053"/>
                    </a:lnTo>
                    <a:lnTo>
                      <a:pt x="1564" y="1053"/>
                    </a:lnTo>
                    <a:lnTo>
                      <a:pt x="1573" y="1053"/>
                    </a:lnTo>
                    <a:lnTo>
                      <a:pt x="1581" y="1049"/>
                    </a:lnTo>
                    <a:lnTo>
                      <a:pt x="1587" y="1044"/>
                    </a:lnTo>
                    <a:lnTo>
                      <a:pt x="1594" y="1037"/>
                    </a:lnTo>
                    <a:lnTo>
                      <a:pt x="1600" y="1029"/>
                    </a:lnTo>
                    <a:lnTo>
                      <a:pt x="1600" y="1019"/>
                    </a:lnTo>
                    <a:lnTo>
                      <a:pt x="1604" y="1016"/>
                    </a:lnTo>
                    <a:lnTo>
                      <a:pt x="1609" y="1013"/>
                    </a:lnTo>
                    <a:lnTo>
                      <a:pt x="1610" y="1012"/>
                    </a:lnTo>
                    <a:lnTo>
                      <a:pt x="1611" y="1012"/>
                    </a:lnTo>
                    <a:lnTo>
                      <a:pt x="1612" y="1012"/>
                    </a:lnTo>
                    <a:lnTo>
                      <a:pt x="1613" y="1011"/>
                    </a:lnTo>
                    <a:lnTo>
                      <a:pt x="1614" y="1010"/>
                    </a:lnTo>
                    <a:lnTo>
                      <a:pt x="1617" y="1015"/>
                    </a:lnTo>
                    <a:lnTo>
                      <a:pt x="1620" y="1017"/>
                    </a:lnTo>
                    <a:lnTo>
                      <a:pt x="1622" y="1020"/>
                    </a:lnTo>
                    <a:lnTo>
                      <a:pt x="1623" y="1022"/>
                    </a:lnTo>
                    <a:lnTo>
                      <a:pt x="1624" y="1023"/>
                    </a:lnTo>
                    <a:lnTo>
                      <a:pt x="1626" y="1026"/>
                    </a:lnTo>
                    <a:lnTo>
                      <a:pt x="1628" y="1029"/>
                    </a:lnTo>
                    <a:lnTo>
                      <a:pt x="1629" y="1032"/>
                    </a:lnTo>
                    <a:lnTo>
                      <a:pt x="1629" y="1035"/>
                    </a:lnTo>
                    <a:lnTo>
                      <a:pt x="1629" y="1038"/>
                    </a:lnTo>
                    <a:lnTo>
                      <a:pt x="1629" y="1039"/>
                    </a:lnTo>
                    <a:lnTo>
                      <a:pt x="1636" y="1046"/>
                    </a:lnTo>
                    <a:lnTo>
                      <a:pt x="1643" y="1049"/>
                    </a:lnTo>
                    <a:lnTo>
                      <a:pt x="1651" y="1051"/>
                    </a:lnTo>
                    <a:lnTo>
                      <a:pt x="1665" y="1050"/>
                    </a:lnTo>
                    <a:lnTo>
                      <a:pt x="1678" y="1050"/>
                    </a:lnTo>
                    <a:lnTo>
                      <a:pt x="1684" y="1047"/>
                    </a:lnTo>
                    <a:lnTo>
                      <a:pt x="1691" y="1042"/>
                    </a:lnTo>
                    <a:lnTo>
                      <a:pt x="1698" y="1036"/>
                    </a:lnTo>
                    <a:lnTo>
                      <a:pt x="1698" y="1028"/>
                    </a:lnTo>
                    <a:lnTo>
                      <a:pt x="1698" y="1021"/>
                    </a:lnTo>
                    <a:lnTo>
                      <a:pt x="1699" y="1015"/>
                    </a:lnTo>
                    <a:lnTo>
                      <a:pt x="1699" y="1011"/>
                    </a:lnTo>
                    <a:lnTo>
                      <a:pt x="1700" y="1008"/>
                    </a:lnTo>
                    <a:lnTo>
                      <a:pt x="1701" y="1006"/>
                    </a:lnTo>
                    <a:lnTo>
                      <a:pt x="1703" y="1004"/>
                    </a:lnTo>
                    <a:lnTo>
                      <a:pt x="1705" y="1003"/>
                    </a:lnTo>
                    <a:lnTo>
                      <a:pt x="1710" y="1003"/>
                    </a:lnTo>
                    <a:lnTo>
                      <a:pt x="1715" y="1004"/>
                    </a:lnTo>
                    <a:lnTo>
                      <a:pt x="1720" y="1007"/>
                    </a:lnTo>
                    <a:lnTo>
                      <a:pt x="1726" y="1010"/>
                    </a:lnTo>
                    <a:lnTo>
                      <a:pt x="1727" y="1018"/>
                    </a:lnTo>
                    <a:lnTo>
                      <a:pt x="1728" y="1025"/>
                    </a:lnTo>
                    <a:lnTo>
                      <a:pt x="1731" y="1031"/>
                    </a:lnTo>
                    <a:lnTo>
                      <a:pt x="1735" y="1037"/>
                    </a:lnTo>
                    <a:lnTo>
                      <a:pt x="1740" y="1042"/>
                    </a:lnTo>
                    <a:lnTo>
                      <a:pt x="1746" y="1047"/>
                    </a:lnTo>
                    <a:lnTo>
                      <a:pt x="1754" y="1047"/>
                    </a:lnTo>
                    <a:lnTo>
                      <a:pt x="1763" y="1044"/>
                    </a:lnTo>
                    <a:lnTo>
                      <a:pt x="1771" y="1042"/>
                    </a:lnTo>
                    <a:lnTo>
                      <a:pt x="1778" y="1038"/>
                    </a:lnTo>
                    <a:lnTo>
                      <a:pt x="1782" y="1023"/>
                    </a:lnTo>
                    <a:lnTo>
                      <a:pt x="1786" y="1012"/>
                    </a:lnTo>
                    <a:lnTo>
                      <a:pt x="1788" y="1002"/>
                    </a:lnTo>
                    <a:lnTo>
                      <a:pt x="1790" y="994"/>
                    </a:lnTo>
                    <a:lnTo>
                      <a:pt x="1793" y="994"/>
                    </a:lnTo>
                    <a:lnTo>
                      <a:pt x="1799" y="998"/>
                    </a:lnTo>
                    <a:lnTo>
                      <a:pt x="1804" y="1002"/>
                    </a:lnTo>
                    <a:lnTo>
                      <a:pt x="1805" y="1003"/>
                    </a:lnTo>
                    <a:lnTo>
                      <a:pt x="1805" y="1004"/>
                    </a:lnTo>
                    <a:lnTo>
                      <a:pt x="1805" y="1004"/>
                    </a:lnTo>
                    <a:lnTo>
                      <a:pt x="1806" y="1005"/>
                    </a:lnTo>
                    <a:lnTo>
                      <a:pt x="1807" y="1005"/>
                    </a:lnTo>
                    <a:lnTo>
                      <a:pt x="1807" y="1006"/>
                    </a:lnTo>
                    <a:lnTo>
                      <a:pt x="1807" y="1017"/>
                    </a:lnTo>
                    <a:lnTo>
                      <a:pt x="1807" y="1026"/>
                    </a:lnTo>
                    <a:lnTo>
                      <a:pt x="1807" y="1033"/>
                    </a:lnTo>
                    <a:lnTo>
                      <a:pt x="1808" y="1039"/>
                    </a:lnTo>
                    <a:lnTo>
                      <a:pt x="1810" y="1043"/>
                    </a:lnTo>
                    <a:lnTo>
                      <a:pt x="1811" y="1047"/>
                    </a:lnTo>
                    <a:lnTo>
                      <a:pt x="1815" y="1047"/>
                    </a:lnTo>
                    <a:lnTo>
                      <a:pt x="1821" y="1048"/>
                    </a:lnTo>
                    <a:lnTo>
                      <a:pt x="1827" y="1048"/>
                    </a:lnTo>
                    <a:lnTo>
                      <a:pt x="1835" y="1048"/>
                    </a:lnTo>
                    <a:lnTo>
                      <a:pt x="1841" y="1046"/>
                    </a:lnTo>
                    <a:lnTo>
                      <a:pt x="1847" y="1044"/>
                    </a:lnTo>
                    <a:lnTo>
                      <a:pt x="1851" y="1042"/>
                    </a:lnTo>
                    <a:lnTo>
                      <a:pt x="1853" y="1040"/>
                    </a:lnTo>
                    <a:lnTo>
                      <a:pt x="1859" y="1029"/>
                    </a:lnTo>
                    <a:lnTo>
                      <a:pt x="1863" y="1017"/>
                    </a:lnTo>
                    <a:lnTo>
                      <a:pt x="1865" y="1005"/>
                    </a:lnTo>
                    <a:lnTo>
                      <a:pt x="1865" y="993"/>
                    </a:lnTo>
                    <a:lnTo>
                      <a:pt x="1862" y="979"/>
                    </a:lnTo>
                    <a:lnTo>
                      <a:pt x="1857" y="967"/>
                    </a:lnTo>
                    <a:lnTo>
                      <a:pt x="1850" y="954"/>
                    </a:lnTo>
                    <a:lnTo>
                      <a:pt x="1853" y="952"/>
                    </a:lnTo>
                    <a:lnTo>
                      <a:pt x="1857" y="948"/>
                    </a:lnTo>
                    <a:lnTo>
                      <a:pt x="1864" y="944"/>
                    </a:lnTo>
                    <a:lnTo>
                      <a:pt x="1872" y="938"/>
                    </a:lnTo>
                    <a:lnTo>
                      <a:pt x="1881" y="933"/>
                    </a:lnTo>
                    <a:lnTo>
                      <a:pt x="1893" y="929"/>
                    </a:lnTo>
                    <a:lnTo>
                      <a:pt x="1907" y="924"/>
                    </a:lnTo>
                    <a:lnTo>
                      <a:pt x="1923" y="920"/>
                    </a:lnTo>
                    <a:lnTo>
                      <a:pt x="1943" y="918"/>
                    </a:lnTo>
                    <a:lnTo>
                      <a:pt x="1955" y="915"/>
                    </a:lnTo>
                    <a:lnTo>
                      <a:pt x="1966" y="911"/>
                    </a:lnTo>
                    <a:lnTo>
                      <a:pt x="1976" y="904"/>
                    </a:lnTo>
                    <a:lnTo>
                      <a:pt x="1985" y="896"/>
                    </a:lnTo>
                    <a:lnTo>
                      <a:pt x="1994" y="885"/>
                    </a:lnTo>
                    <a:lnTo>
                      <a:pt x="2001" y="873"/>
                    </a:lnTo>
                    <a:lnTo>
                      <a:pt x="2007" y="857"/>
                    </a:lnTo>
                    <a:lnTo>
                      <a:pt x="2011" y="841"/>
                    </a:lnTo>
                    <a:lnTo>
                      <a:pt x="2011" y="825"/>
                    </a:lnTo>
                    <a:lnTo>
                      <a:pt x="2009" y="807"/>
                    </a:lnTo>
                    <a:lnTo>
                      <a:pt x="2009" y="792"/>
                    </a:lnTo>
                    <a:lnTo>
                      <a:pt x="2009" y="780"/>
                    </a:lnTo>
                    <a:lnTo>
                      <a:pt x="2010" y="770"/>
                    </a:lnTo>
                    <a:lnTo>
                      <a:pt x="2011" y="762"/>
                    </a:lnTo>
                    <a:lnTo>
                      <a:pt x="2013" y="756"/>
                    </a:lnTo>
                    <a:lnTo>
                      <a:pt x="2017" y="749"/>
                    </a:lnTo>
                    <a:lnTo>
                      <a:pt x="2021" y="744"/>
                    </a:lnTo>
                    <a:lnTo>
                      <a:pt x="2023" y="740"/>
                    </a:lnTo>
                    <a:lnTo>
                      <a:pt x="2028" y="733"/>
                    </a:lnTo>
                    <a:lnTo>
                      <a:pt x="2033" y="725"/>
                    </a:lnTo>
                    <a:lnTo>
                      <a:pt x="2036" y="718"/>
                    </a:lnTo>
                    <a:lnTo>
                      <a:pt x="2037" y="710"/>
                    </a:lnTo>
                    <a:lnTo>
                      <a:pt x="2037" y="699"/>
                    </a:lnTo>
                    <a:lnTo>
                      <a:pt x="2038" y="697"/>
                    </a:lnTo>
                    <a:lnTo>
                      <a:pt x="2039" y="695"/>
                    </a:lnTo>
                    <a:lnTo>
                      <a:pt x="2039" y="634"/>
                    </a:lnTo>
                    <a:lnTo>
                      <a:pt x="2039" y="613"/>
                    </a:lnTo>
                    <a:lnTo>
                      <a:pt x="2040" y="593"/>
                    </a:lnTo>
                    <a:lnTo>
                      <a:pt x="2043" y="573"/>
                    </a:lnTo>
                    <a:lnTo>
                      <a:pt x="2043" y="564"/>
                    </a:lnTo>
                    <a:lnTo>
                      <a:pt x="2046" y="558"/>
                    </a:lnTo>
                    <a:lnTo>
                      <a:pt x="2047" y="535"/>
                    </a:lnTo>
                    <a:lnTo>
                      <a:pt x="2046" y="512"/>
                    </a:lnTo>
                    <a:lnTo>
                      <a:pt x="2043" y="488"/>
                    </a:lnTo>
                    <a:lnTo>
                      <a:pt x="2039" y="466"/>
                    </a:lnTo>
                    <a:lnTo>
                      <a:pt x="2037" y="461"/>
                    </a:lnTo>
                    <a:lnTo>
                      <a:pt x="2036" y="456"/>
                    </a:lnTo>
                    <a:lnTo>
                      <a:pt x="2033" y="443"/>
                    </a:lnTo>
                    <a:lnTo>
                      <a:pt x="2030" y="432"/>
                    </a:lnTo>
                    <a:lnTo>
                      <a:pt x="2025" y="422"/>
                    </a:lnTo>
                    <a:lnTo>
                      <a:pt x="2024" y="421"/>
                    </a:lnTo>
                    <a:lnTo>
                      <a:pt x="2024" y="420"/>
                    </a:lnTo>
                    <a:lnTo>
                      <a:pt x="2023" y="419"/>
                    </a:lnTo>
                    <a:lnTo>
                      <a:pt x="2023" y="418"/>
                    </a:lnTo>
                    <a:lnTo>
                      <a:pt x="2023" y="418"/>
                    </a:lnTo>
                    <a:lnTo>
                      <a:pt x="2014" y="396"/>
                    </a:lnTo>
                    <a:lnTo>
                      <a:pt x="2003" y="374"/>
                    </a:lnTo>
                    <a:lnTo>
                      <a:pt x="1990" y="354"/>
                    </a:lnTo>
                    <a:lnTo>
                      <a:pt x="1976" y="335"/>
                    </a:lnTo>
                    <a:lnTo>
                      <a:pt x="1961" y="316"/>
                    </a:lnTo>
                    <a:lnTo>
                      <a:pt x="1956" y="311"/>
                    </a:lnTo>
                    <a:lnTo>
                      <a:pt x="1952" y="306"/>
                    </a:lnTo>
                    <a:lnTo>
                      <a:pt x="1947" y="301"/>
                    </a:lnTo>
                    <a:lnTo>
                      <a:pt x="1947" y="300"/>
                    </a:lnTo>
                    <a:lnTo>
                      <a:pt x="1946" y="300"/>
                    </a:lnTo>
                    <a:lnTo>
                      <a:pt x="1946" y="299"/>
                    </a:lnTo>
                    <a:lnTo>
                      <a:pt x="1945" y="299"/>
                    </a:lnTo>
                    <a:lnTo>
                      <a:pt x="1944" y="298"/>
                    </a:lnTo>
                    <a:lnTo>
                      <a:pt x="1928" y="283"/>
                    </a:lnTo>
                    <a:lnTo>
                      <a:pt x="1912" y="270"/>
                    </a:lnTo>
                    <a:lnTo>
                      <a:pt x="1895" y="256"/>
                    </a:lnTo>
                    <a:lnTo>
                      <a:pt x="1877" y="245"/>
                    </a:lnTo>
                    <a:lnTo>
                      <a:pt x="1864" y="237"/>
                    </a:lnTo>
                    <a:lnTo>
                      <a:pt x="1851" y="230"/>
                    </a:lnTo>
                    <a:lnTo>
                      <a:pt x="1851" y="230"/>
                    </a:lnTo>
                    <a:lnTo>
                      <a:pt x="1850" y="230"/>
                    </a:lnTo>
                    <a:lnTo>
                      <a:pt x="1849" y="230"/>
                    </a:lnTo>
                    <a:lnTo>
                      <a:pt x="1830" y="221"/>
                    </a:lnTo>
                    <a:lnTo>
                      <a:pt x="1810" y="215"/>
                    </a:lnTo>
                    <a:lnTo>
                      <a:pt x="1791" y="209"/>
                    </a:lnTo>
                    <a:lnTo>
                      <a:pt x="1782" y="207"/>
                    </a:lnTo>
                    <a:lnTo>
                      <a:pt x="1773" y="202"/>
                    </a:lnTo>
                    <a:lnTo>
                      <a:pt x="1754" y="200"/>
                    </a:lnTo>
                    <a:lnTo>
                      <a:pt x="1736" y="198"/>
                    </a:lnTo>
                    <a:lnTo>
                      <a:pt x="1707" y="196"/>
                    </a:lnTo>
                    <a:lnTo>
                      <a:pt x="1678" y="196"/>
                    </a:lnTo>
                    <a:close/>
                    <a:moveTo>
                      <a:pt x="1678" y="0"/>
                    </a:moveTo>
                    <a:lnTo>
                      <a:pt x="1743" y="2"/>
                    </a:lnTo>
                    <a:lnTo>
                      <a:pt x="1807" y="7"/>
                    </a:lnTo>
                    <a:lnTo>
                      <a:pt x="1870" y="16"/>
                    </a:lnTo>
                    <a:lnTo>
                      <a:pt x="1933" y="30"/>
                    </a:lnTo>
                    <a:lnTo>
                      <a:pt x="1992" y="45"/>
                    </a:lnTo>
                    <a:lnTo>
                      <a:pt x="2050" y="65"/>
                    </a:lnTo>
                    <a:lnTo>
                      <a:pt x="2106" y="88"/>
                    </a:lnTo>
                    <a:lnTo>
                      <a:pt x="2160" y="114"/>
                    </a:lnTo>
                    <a:lnTo>
                      <a:pt x="2210" y="144"/>
                    </a:lnTo>
                    <a:lnTo>
                      <a:pt x="2259" y="178"/>
                    </a:lnTo>
                    <a:lnTo>
                      <a:pt x="2305" y="215"/>
                    </a:lnTo>
                    <a:lnTo>
                      <a:pt x="2347" y="255"/>
                    </a:lnTo>
                    <a:lnTo>
                      <a:pt x="2387" y="299"/>
                    </a:lnTo>
                    <a:lnTo>
                      <a:pt x="2422" y="347"/>
                    </a:lnTo>
                    <a:lnTo>
                      <a:pt x="2455" y="398"/>
                    </a:lnTo>
                    <a:lnTo>
                      <a:pt x="2482" y="452"/>
                    </a:lnTo>
                    <a:lnTo>
                      <a:pt x="2505" y="439"/>
                    </a:lnTo>
                    <a:lnTo>
                      <a:pt x="2524" y="430"/>
                    </a:lnTo>
                    <a:lnTo>
                      <a:pt x="2541" y="423"/>
                    </a:lnTo>
                    <a:lnTo>
                      <a:pt x="2557" y="419"/>
                    </a:lnTo>
                    <a:lnTo>
                      <a:pt x="2572" y="417"/>
                    </a:lnTo>
                    <a:lnTo>
                      <a:pt x="2587" y="416"/>
                    </a:lnTo>
                    <a:lnTo>
                      <a:pt x="2603" y="417"/>
                    </a:lnTo>
                    <a:lnTo>
                      <a:pt x="2622" y="418"/>
                    </a:lnTo>
                    <a:lnTo>
                      <a:pt x="2642" y="419"/>
                    </a:lnTo>
                    <a:lnTo>
                      <a:pt x="2666" y="420"/>
                    </a:lnTo>
                    <a:lnTo>
                      <a:pt x="2693" y="421"/>
                    </a:lnTo>
                    <a:lnTo>
                      <a:pt x="2738" y="422"/>
                    </a:lnTo>
                    <a:lnTo>
                      <a:pt x="2783" y="427"/>
                    </a:lnTo>
                    <a:lnTo>
                      <a:pt x="2827" y="434"/>
                    </a:lnTo>
                    <a:lnTo>
                      <a:pt x="2873" y="444"/>
                    </a:lnTo>
                    <a:lnTo>
                      <a:pt x="2917" y="459"/>
                    </a:lnTo>
                    <a:lnTo>
                      <a:pt x="2961" y="475"/>
                    </a:lnTo>
                    <a:lnTo>
                      <a:pt x="3004" y="495"/>
                    </a:lnTo>
                    <a:lnTo>
                      <a:pt x="3045" y="518"/>
                    </a:lnTo>
                    <a:lnTo>
                      <a:pt x="3085" y="544"/>
                    </a:lnTo>
                    <a:lnTo>
                      <a:pt x="3123" y="573"/>
                    </a:lnTo>
                    <a:lnTo>
                      <a:pt x="3159" y="605"/>
                    </a:lnTo>
                    <a:lnTo>
                      <a:pt x="3193" y="640"/>
                    </a:lnTo>
                    <a:lnTo>
                      <a:pt x="3225" y="678"/>
                    </a:lnTo>
                    <a:lnTo>
                      <a:pt x="3253" y="720"/>
                    </a:lnTo>
                    <a:lnTo>
                      <a:pt x="3279" y="765"/>
                    </a:lnTo>
                    <a:lnTo>
                      <a:pt x="3301" y="813"/>
                    </a:lnTo>
                    <a:lnTo>
                      <a:pt x="3320" y="863"/>
                    </a:lnTo>
                    <a:lnTo>
                      <a:pt x="3336" y="917"/>
                    </a:lnTo>
                    <a:lnTo>
                      <a:pt x="3346" y="975"/>
                    </a:lnTo>
                    <a:lnTo>
                      <a:pt x="3353" y="1036"/>
                    </a:lnTo>
                    <a:lnTo>
                      <a:pt x="3355" y="1100"/>
                    </a:lnTo>
                    <a:lnTo>
                      <a:pt x="3353" y="1163"/>
                    </a:lnTo>
                    <a:lnTo>
                      <a:pt x="3347" y="1224"/>
                    </a:lnTo>
                    <a:lnTo>
                      <a:pt x="3337" y="1282"/>
                    </a:lnTo>
                    <a:lnTo>
                      <a:pt x="3323" y="1336"/>
                    </a:lnTo>
                    <a:lnTo>
                      <a:pt x="3306" y="1387"/>
                    </a:lnTo>
                    <a:lnTo>
                      <a:pt x="3286" y="1435"/>
                    </a:lnTo>
                    <a:lnTo>
                      <a:pt x="3261" y="1480"/>
                    </a:lnTo>
                    <a:lnTo>
                      <a:pt x="3235" y="1521"/>
                    </a:lnTo>
                    <a:lnTo>
                      <a:pt x="3206" y="1560"/>
                    </a:lnTo>
                    <a:lnTo>
                      <a:pt x="3175" y="1596"/>
                    </a:lnTo>
                    <a:lnTo>
                      <a:pt x="3141" y="1628"/>
                    </a:lnTo>
                    <a:lnTo>
                      <a:pt x="3106" y="1658"/>
                    </a:lnTo>
                    <a:lnTo>
                      <a:pt x="3069" y="1684"/>
                    </a:lnTo>
                    <a:lnTo>
                      <a:pt x="3030" y="1708"/>
                    </a:lnTo>
                    <a:lnTo>
                      <a:pt x="2990" y="1728"/>
                    </a:lnTo>
                    <a:lnTo>
                      <a:pt x="2949" y="1746"/>
                    </a:lnTo>
                    <a:lnTo>
                      <a:pt x="2907" y="1761"/>
                    </a:lnTo>
                    <a:lnTo>
                      <a:pt x="2865" y="1774"/>
                    </a:lnTo>
                    <a:lnTo>
                      <a:pt x="2821" y="1783"/>
                    </a:lnTo>
                    <a:lnTo>
                      <a:pt x="2779" y="1790"/>
                    </a:lnTo>
                    <a:lnTo>
                      <a:pt x="2736" y="1794"/>
                    </a:lnTo>
                    <a:lnTo>
                      <a:pt x="2693" y="1795"/>
                    </a:lnTo>
                    <a:lnTo>
                      <a:pt x="2693" y="1795"/>
                    </a:lnTo>
                    <a:lnTo>
                      <a:pt x="2692" y="1795"/>
                    </a:lnTo>
                    <a:lnTo>
                      <a:pt x="2681" y="1795"/>
                    </a:lnTo>
                    <a:lnTo>
                      <a:pt x="2676" y="1795"/>
                    </a:lnTo>
                    <a:lnTo>
                      <a:pt x="2669" y="1795"/>
                    </a:lnTo>
                    <a:lnTo>
                      <a:pt x="1701" y="1795"/>
                    </a:lnTo>
                    <a:lnTo>
                      <a:pt x="1603" y="1795"/>
                    </a:lnTo>
                    <a:lnTo>
                      <a:pt x="1497" y="1795"/>
                    </a:lnTo>
                    <a:lnTo>
                      <a:pt x="1385" y="1795"/>
                    </a:lnTo>
                    <a:lnTo>
                      <a:pt x="1266" y="1795"/>
                    </a:lnTo>
                    <a:lnTo>
                      <a:pt x="866" y="1795"/>
                    </a:lnTo>
                    <a:lnTo>
                      <a:pt x="719" y="1795"/>
                    </a:lnTo>
                    <a:lnTo>
                      <a:pt x="563" y="1795"/>
                    </a:lnTo>
                    <a:lnTo>
                      <a:pt x="523" y="1793"/>
                    </a:lnTo>
                    <a:lnTo>
                      <a:pt x="483" y="1788"/>
                    </a:lnTo>
                    <a:lnTo>
                      <a:pt x="442" y="1780"/>
                    </a:lnTo>
                    <a:lnTo>
                      <a:pt x="400" y="1768"/>
                    </a:lnTo>
                    <a:lnTo>
                      <a:pt x="359" y="1751"/>
                    </a:lnTo>
                    <a:lnTo>
                      <a:pt x="320" y="1733"/>
                    </a:lnTo>
                    <a:lnTo>
                      <a:pt x="280" y="1711"/>
                    </a:lnTo>
                    <a:lnTo>
                      <a:pt x="242" y="1686"/>
                    </a:lnTo>
                    <a:lnTo>
                      <a:pt x="206" y="1658"/>
                    </a:lnTo>
                    <a:lnTo>
                      <a:pt x="171" y="1626"/>
                    </a:lnTo>
                    <a:lnTo>
                      <a:pt x="138" y="1593"/>
                    </a:lnTo>
                    <a:lnTo>
                      <a:pt x="109" y="1555"/>
                    </a:lnTo>
                    <a:lnTo>
                      <a:pt x="82" y="1514"/>
                    </a:lnTo>
                    <a:lnTo>
                      <a:pt x="58" y="1472"/>
                    </a:lnTo>
                    <a:lnTo>
                      <a:pt x="39" y="1426"/>
                    </a:lnTo>
                    <a:lnTo>
                      <a:pt x="22" y="1377"/>
                    </a:lnTo>
                    <a:lnTo>
                      <a:pt x="10" y="1326"/>
                    </a:lnTo>
                    <a:lnTo>
                      <a:pt x="3" y="1272"/>
                    </a:lnTo>
                    <a:lnTo>
                      <a:pt x="0" y="1216"/>
                    </a:lnTo>
                    <a:lnTo>
                      <a:pt x="2" y="1155"/>
                    </a:lnTo>
                    <a:lnTo>
                      <a:pt x="7" y="1098"/>
                    </a:lnTo>
                    <a:lnTo>
                      <a:pt x="15" y="1047"/>
                    </a:lnTo>
                    <a:lnTo>
                      <a:pt x="26" y="998"/>
                    </a:lnTo>
                    <a:lnTo>
                      <a:pt x="41" y="952"/>
                    </a:lnTo>
                    <a:lnTo>
                      <a:pt x="57" y="910"/>
                    </a:lnTo>
                    <a:lnTo>
                      <a:pt x="76" y="872"/>
                    </a:lnTo>
                    <a:lnTo>
                      <a:pt x="98" y="837"/>
                    </a:lnTo>
                    <a:lnTo>
                      <a:pt x="121" y="804"/>
                    </a:lnTo>
                    <a:lnTo>
                      <a:pt x="147" y="776"/>
                    </a:lnTo>
                    <a:lnTo>
                      <a:pt x="173" y="750"/>
                    </a:lnTo>
                    <a:lnTo>
                      <a:pt x="202" y="726"/>
                    </a:lnTo>
                    <a:lnTo>
                      <a:pt x="231" y="705"/>
                    </a:lnTo>
                    <a:lnTo>
                      <a:pt x="263" y="687"/>
                    </a:lnTo>
                    <a:lnTo>
                      <a:pt x="294" y="670"/>
                    </a:lnTo>
                    <a:lnTo>
                      <a:pt x="327" y="656"/>
                    </a:lnTo>
                    <a:lnTo>
                      <a:pt x="360" y="644"/>
                    </a:lnTo>
                    <a:lnTo>
                      <a:pt x="394" y="634"/>
                    </a:lnTo>
                    <a:lnTo>
                      <a:pt x="428" y="624"/>
                    </a:lnTo>
                    <a:lnTo>
                      <a:pt x="480" y="614"/>
                    </a:lnTo>
                    <a:lnTo>
                      <a:pt x="529" y="609"/>
                    </a:lnTo>
                    <a:lnTo>
                      <a:pt x="574" y="607"/>
                    </a:lnTo>
                    <a:lnTo>
                      <a:pt x="615" y="609"/>
                    </a:lnTo>
                    <a:lnTo>
                      <a:pt x="651" y="615"/>
                    </a:lnTo>
                    <a:lnTo>
                      <a:pt x="682" y="623"/>
                    </a:lnTo>
                    <a:lnTo>
                      <a:pt x="707" y="634"/>
                    </a:lnTo>
                    <a:lnTo>
                      <a:pt x="726" y="646"/>
                    </a:lnTo>
                    <a:lnTo>
                      <a:pt x="738" y="660"/>
                    </a:lnTo>
                    <a:lnTo>
                      <a:pt x="743" y="675"/>
                    </a:lnTo>
                    <a:lnTo>
                      <a:pt x="741" y="691"/>
                    </a:lnTo>
                    <a:lnTo>
                      <a:pt x="774" y="610"/>
                    </a:lnTo>
                    <a:lnTo>
                      <a:pt x="809" y="536"/>
                    </a:lnTo>
                    <a:lnTo>
                      <a:pt x="847" y="468"/>
                    </a:lnTo>
                    <a:lnTo>
                      <a:pt x="887" y="404"/>
                    </a:lnTo>
                    <a:lnTo>
                      <a:pt x="930" y="346"/>
                    </a:lnTo>
                    <a:lnTo>
                      <a:pt x="974" y="292"/>
                    </a:lnTo>
                    <a:lnTo>
                      <a:pt x="1021" y="243"/>
                    </a:lnTo>
                    <a:lnTo>
                      <a:pt x="1071" y="199"/>
                    </a:lnTo>
                    <a:lnTo>
                      <a:pt x="1123" y="160"/>
                    </a:lnTo>
                    <a:lnTo>
                      <a:pt x="1176" y="125"/>
                    </a:lnTo>
                    <a:lnTo>
                      <a:pt x="1232" y="96"/>
                    </a:lnTo>
                    <a:lnTo>
                      <a:pt x="1290" y="69"/>
                    </a:lnTo>
                    <a:lnTo>
                      <a:pt x="1350" y="48"/>
                    </a:lnTo>
                    <a:lnTo>
                      <a:pt x="1412" y="31"/>
                    </a:lnTo>
                    <a:lnTo>
                      <a:pt x="1475" y="17"/>
                    </a:lnTo>
                    <a:lnTo>
                      <a:pt x="1542" y="8"/>
                    </a:lnTo>
                    <a:lnTo>
                      <a:pt x="1609" y="2"/>
                    </a:lnTo>
                    <a:lnTo>
                      <a:pt x="1678"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84" name="Freeform 135">
                <a:extLst>
                  <a:ext uri="{FF2B5EF4-FFF2-40B4-BE49-F238E27FC236}">
                    <a16:creationId xmlns:a16="http://schemas.microsoft.com/office/drawing/2014/main" id="{C721AF41-7DCE-4515-802E-0C5DCE9D1E2B}"/>
                  </a:ext>
                </a:extLst>
              </p:cNvPr>
              <p:cNvSpPr>
                <a:spLocks/>
              </p:cNvSpPr>
              <p:nvPr/>
            </p:nvSpPr>
            <p:spPr bwMode="auto">
              <a:xfrm>
                <a:off x="-185738" y="2393950"/>
                <a:ext cx="85725" cy="65088"/>
              </a:xfrm>
              <a:custGeom>
                <a:avLst/>
                <a:gdLst>
                  <a:gd name="T0" fmla="*/ 75 w 216"/>
                  <a:gd name="T1" fmla="*/ 0 h 162"/>
                  <a:gd name="T2" fmla="*/ 98 w 216"/>
                  <a:gd name="T3" fmla="*/ 0 h 162"/>
                  <a:gd name="T4" fmla="*/ 121 w 216"/>
                  <a:gd name="T5" fmla="*/ 4 h 162"/>
                  <a:gd name="T6" fmla="*/ 145 w 216"/>
                  <a:gd name="T7" fmla="*/ 8 h 162"/>
                  <a:gd name="T8" fmla="*/ 156 w 216"/>
                  <a:gd name="T9" fmla="*/ 14 h 162"/>
                  <a:gd name="T10" fmla="*/ 167 w 216"/>
                  <a:gd name="T11" fmla="*/ 22 h 162"/>
                  <a:gd name="T12" fmla="*/ 180 w 216"/>
                  <a:gd name="T13" fmla="*/ 30 h 162"/>
                  <a:gd name="T14" fmla="*/ 189 w 216"/>
                  <a:gd name="T15" fmla="*/ 36 h 162"/>
                  <a:gd name="T16" fmla="*/ 196 w 216"/>
                  <a:gd name="T17" fmla="*/ 43 h 162"/>
                  <a:gd name="T18" fmla="*/ 203 w 216"/>
                  <a:gd name="T19" fmla="*/ 47 h 162"/>
                  <a:gd name="T20" fmla="*/ 209 w 216"/>
                  <a:gd name="T21" fmla="*/ 52 h 162"/>
                  <a:gd name="T22" fmla="*/ 213 w 216"/>
                  <a:gd name="T23" fmla="*/ 59 h 162"/>
                  <a:gd name="T24" fmla="*/ 216 w 216"/>
                  <a:gd name="T25" fmla="*/ 65 h 162"/>
                  <a:gd name="T26" fmla="*/ 215 w 216"/>
                  <a:gd name="T27" fmla="*/ 77 h 162"/>
                  <a:gd name="T28" fmla="*/ 215 w 216"/>
                  <a:gd name="T29" fmla="*/ 89 h 162"/>
                  <a:gd name="T30" fmla="*/ 212 w 216"/>
                  <a:gd name="T31" fmla="*/ 108 h 162"/>
                  <a:gd name="T32" fmla="*/ 209 w 216"/>
                  <a:gd name="T33" fmla="*/ 115 h 162"/>
                  <a:gd name="T34" fmla="*/ 205 w 216"/>
                  <a:gd name="T35" fmla="*/ 123 h 162"/>
                  <a:gd name="T36" fmla="*/ 202 w 216"/>
                  <a:gd name="T37" fmla="*/ 129 h 162"/>
                  <a:gd name="T38" fmla="*/ 194 w 216"/>
                  <a:gd name="T39" fmla="*/ 140 h 162"/>
                  <a:gd name="T40" fmla="*/ 185 w 216"/>
                  <a:gd name="T41" fmla="*/ 149 h 162"/>
                  <a:gd name="T42" fmla="*/ 181 w 216"/>
                  <a:gd name="T43" fmla="*/ 152 h 162"/>
                  <a:gd name="T44" fmla="*/ 176 w 216"/>
                  <a:gd name="T45" fmla="*/ 155 h 162"/>
                  <a:gd name="T46" fmla="*/ 170 w 216"/>
                  <a:gd name="T47" fmla="*/ 156 h 162"/>
                  <a:gd name="T48" fmla="*/ 146 w 216"/>
                  <a:gd name="T49" fmla="*/ 161 h 162"/>
                  <a:gd name="T50" fmla="*/ 124 w 216"/>
                  <a:gd name="T51" fmla="*/ 162 h 162"/>
                  <a:gd name="T52" fmla="*/ 101 w 216"/>
                  <a:gd name="T53" fmla="*/ 162 h 162"/>
                  <a:gd name="T54" fmla="*/ 79 w 216"/>
                  <a:gd name="T55" fmla="*/ 158 h 162"/>
                  <a:gd name="T56" fmla="*/ 68 w 216"/>
                  <a:gd name="T57" fmla="*/ 155 h 162"/>
                  <a:gd name="T58" fmla="*/ 58 w 216"/>
                  <a:gd name="T59" fmla="*/ 153 h 162"/>
                  <a:gd name="T60" fmla="*/ 47 w 216"/>
                  <a:gd name="T61" fmla="*/ 150 h 162"/>
                  <a:gd name="T62" fmla="*/ 37 w 216"/>
                  <a:gd name="T63" fmla="*/ 146 h 162"/>
                  <a:gd name="T64" fmla="*/ 28 w 216"/>
                  <a:gd name="T65" fmla="*/ 142 h 162"/>
                  <a:gd name="T66" fmla="*/ 19 w 216"/>
                  <a:gd name="T67" fmla="*/ 136 h 162"/>
                  <a:gd name="T68" fmla="*/ 13 w 216"/>
                  <a:gd name="T69" fmla="*/ 131 h 162"/>
                  <a:gd name="T70" fmla="*/ 8 w 216"/>
                  <a:gd name="T71" fmla="*/ 125 h 162"/>
                  <a:gd name="T72" fmla="*/ 4 w 216"/>
                  <a:gd name="T73" fmla="*/ 118 h 162"/>
                  <a:gd name="T74" fmla="*/ 0 w 216"/>
                  <a:gd name="T75" fmla="*/ 108 h 162"/>
                  <a:gd name="T76" fmla="*/ 0 w 216"/>
                  <a:gd name="T77" fmla="*/ 94 h 162"/>
                  <a:gd name="T78" fmla="*/ 2 w 216"/>
                  <a:gd name="T79" fmla="*/ 88 h 162"/>
                  <a:gd name="T80" fmla="*/ 3 w 216"/>
                  <a:gd name="T81" fmla="*/ 83 h 162"/>
                  <a:gd name="T82" fmla="*/ 6 w 216"/>
                  <a:gd name="T83" fmla="*/ 68 h 162"/>
                  <a:gd name="T84" fmla="*/ 9 w 216"/>
                  <a:gd name="T85" fmla="*/ 53 h 162"/>
                  <a:gd name="T86" fmla="*/ 12 w 216"/>
                  <a:gd name="T87" fmla="*/ 44 h 162"/>
                  <a:gd name="T88" fmla="*/ 16 w 216"/>
                  <a:gd name="T89" fmla="*/ 35 h 162"/>
                  <a:gd name="T90" fmla="*/ 20 w 216"/>
                  <a:gd name="T91" fmla="*/ 26 h 162"/>
                  <a:gd name="T92" fmla="*/ 25 w 216"/>
                  <a:gd name="T93" fmla="*/ 20 h 162"/>
                  <a:gd name="T94" fmla="*/ 31 w 216"/>
                  <a:gd name="T95" fmla="*/ 14 h 162"/>
                  <a:gd name="T96" fmla="*/ 38 w 216"/>
                  <a:gd name="T97" fmla="*/ 10 h 162"/>
                  <a:gd name="T98" fmla="*/ 56 w 216"/>
                  <a:gd name="T99" fmla="*/ 4 h 162"/>
                  <a:gd name="T100" fmla="*/ 75 w 216"/>
                  <a:gd name="T10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6" h="162">
                    <a:moveTo>
                      <a:pt x="75" y="0"/>
                    </a:moveTo>
                    <a:lnTo>
                      <a:pt x="98" y="0"/>
                    </a:lnTo>
                    <a:lnTo>
                      <a:pt x="121" y="4"/>
                    </a:lnTo>
                    <a:lnTo>
                      <a:pt x="145" y="8"/>
                    </a:lnTo>
                    <a:lnTo>
                      <a:pt x="156" y="14"/>
                    </a:lnTo>
                    <a:lnTo>
                      <a:pt x="167" y="22"/>
                    </a:lnTo>
                    <a:lnTo>
                      <a:pt x="180" y="30"/>
                    </a:lnTo>
                    <a:lnTo>
                      <a:pt x="189" y="36"/>
                    </a:lnTo>
                    <a:lnTo>
                      <a:pt x="196" y="43"/>
                    </a:lnTo>
                    <a:lnTo>
                      <a:pt x="203" y="47"/>
                    </a:lnTo>
                    <a:lnTo>
                      <a:pt x="209" y="52"/>
                    </a:lnTo>
                    <a:lnTo>
                      <a:pt x="213" y="59"/>
                    </a:lnTo>
                    <a:lnTo>
                      <a:pt x="216" y="65"/>
                    </a:lnTo>
                    <a:lnTo>
                      <a:pt x="215" y="77"/>
                    </a:lnTo>
                    <a:lnTo>
                      <a:pt x="215" y="89"/>
                    </a:lnTo>
                    <a:lnTo>
                      <a:pt x="212" y="108"/>
                    </a:lnTo>
                    <a:lnTo>
                      <a:pt x="209" y="115"/>
                    </a:lnTo>
                    <a:lnTo>
                      <a:pt x="205" y="123"/>
                    </a:lnTo>
                    <a:lnTo>
                      <a:pt x="202" y="129"/>
                    </a:lnTo>
                    <a:lnTo>
                      <a:pt x="194" y="140"/>
                    </a:lnTo>
                    <a:lnTo>
                      <a:pt x="185" y="149"/>
                    </a:lnTo>
                    <a:lnTo>
                      <a:pt x="181" y="152"/>
                    </a:lnTo>
                    <a:lnTo>
                      <a:pt x="176" y="155"/>
                    </a:lnTo>
                    <a:lnTo>
                      <a:pt x="170" y="156"/>
                    </a:lnTo>
                    <a:lnTo>
                      <a:pt x="146" y="161"/>
                    </a:lnTo>
                    <a:lnTo>
                      <a:pt x="124" y="162"/>
                    </a:lnTo>
                    <a:lnTo>
                      <a:pt x="101" y="162"/>
                    </a:lnTo>
                    <a:lnTo>
                      <a:pt x="79" y="158"/>
                    </a:lnTo>
                    <a:lnTo>
                      <a:pt x="68" y="155"/>
                    </a:lnTo>
                    <a:lnTo>
                      <a:pt x="58" y="153"/>
                    </a:lnTo>
                    <a:lnTo>
                      <a:pt x="47" y="150"/>
                    </a:lnTo>
                    <a:lnTo>
                      <a:pt x="37" y="146"/>
                    </a:lnTo>
                    <a:lnTo>
                      <a:pt x="28" y="142"/>
                    </a:lnTo>
                    <a:lnTo>
                      <a:pt x="19" y="136"/>
                    </a:lnTo>
                    <a:lnTo>
                      <a:pt x="13" y="131"/>
                    </a:lnTo>
                    <a:lnTo>
                      <a:pt x="8" y="125"/>
                    </a:lnTo>
                    <a:lnTo>
                      <a:pt x="4" y="118"/>
                    </a:lnTo>
                    <a:lnTo>
                      <a:pt x="0" y="108"/>
                    </a:lnTo>
                    <a:lnTo>
                      <a:pt x="0" y="94"/>
                    </a:lnTo>
                    <a:lnTo>
                      <a:pt x="2" y="88"/>
                    </a:lnTo>
                    <a:lnTo>
                      <a:pt x="3" y="83"/>
                    </a:lnTo>
                    <a:lnTo>
                      <a:pt x="6" y="68"/>
                    </a:lnTo>
                    <a:lnTo>
                      <a:pt x="9" y="53"/>
                    </a:lnTo>
                    <a:lnTo>
                      <a:pt x="12" y="44"/>
                    </a:lnTo>
                    <a:lnTo>
                      <a:pt x="16" y="35"/>
                    </a:lnTo>
                    <a:lnTo>
                      <a:pt x="20" y="26"/>
                    </a:lnTo>
                    <a:lnTo>
                      <a:pt x="25" y="20"/>
                    </a:lnTo>
                    <a:lnTo>
                      <a:pt x="31" y="14"/>
                    </a:lnTo>
                    <a:lnTo>
                      <a:pt x="38" y="10"/>
                    </a:lnTo>
                    <a:lnTo>
                      <a:pt x="56" y="4"/>
                    </a:lnTo>
                    <a:lnTo>
                      <a:pt x="75" y="0"/>
                    </a:lnTo>
                    <a:close/>
                  </a:path>
                </a:pathLst>
              </a:custGeom>
              <a:solidFill>
                <a:schemeClr val="accent4"/>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175" name="Rectangle 174">
              <a:extLst>
                <a:ext uri="{FF2B5EF4-FFF2-40B4-BE49-F238E27FC236}">
                  <a16:creationId xmlns:a16="http://schemas.microsoft.com/office/drawing/2014/main" id="{CDBAF0DA-7C2F-406B-A5F4-C4DABE1B713B}"/>
                </a:ext>
              </a:extLst>
            </p:cNvPr>
            <p:cNvSpPr/>
            <p:nvPr/>
          </p:nvSpPr>
          <p:spPr>
            <a:xfrm>
              <a:off x="6423921" y="6088062"/>
              <a:ext cx="1016210" cy="282554"/>
            </a:xfrm>
            <a:prstGeom prst="rect">
              <a:avLst/>
            </a:prstGeom>
          </p:spPr>
          <p:txBody>
            <a:bodyPr wrap="none">
              <a:spAutoFit/>
            </a:bodyPr>
            <a:lstStyle/>
            <a:p>
              <a:pPr marL="0" marR="0" lvl="0" indent="0" algn="ctr" defTabSz="896386"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MALWARE </a:t>
              </a:r>
            </a:p>
          </p:txBody>
        </p:sp>
      </p:grpSp>
      <p:grpSp>
        <p:nvGrpSpPr>
          <p:cNvPr id="13" name="Group 12">
            <a:extLst>
              <a:ext uri="{FF2B5EF4-FFF2-40B4-BE49-F238E27FC236}">
                <a16:creationId xmlns:a16="http://schemas.microsoft.com/office/drawing/2014/main" id="{9D61BD12-EA33-47FF-AB14-143C7BC20555}"/>
              </a:ext>
            </a:extLst>
          </p:cNvPr>
          <p:cNvGrpSpPr/>
          <p:nvPr/>
        </p:nvGrpSpPr>
        <p:grpSpPr>
          <a:xfrm>
            <a:off x="7586061" y="4796588"/>
            <a:ext cx="1267014" cy="1633946"/>
            <a:chOff x="7738174" y="4892274"/>
            <a:chExt cx="1292420" cy="1666710"/>
          </a:xfrm>
        </p:grpSpPr>
        <p:sp>
          <p:nvSpPr>
            <p:cNvPr id="77" name="Oval 76">
              <a:extLst>
                <a:ext uri="{FF2B5EF4-FFF2-40B4-BE49-F238E27FC236}">
                  <a16:creationId xmlns:a16="http://schemas.microsoft.com/office/drawing/2014/main" id="{52E308F7-6699-447E-8ED2-E4EE5C0EFA4F}"/>
                </a:ext>
              </a:extLst>
            </p:cNvPr>
            <p:cNvSpPr/>
            <p:nvPr/>
          </p:nvSpPr>
          <p:spPr>
            <a:xfrm>
              <a:off x="7883570" y="4927327"/>
              <a:ext cx="1055934" cy="10559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Rectangle 159">
              <a:extLst>
                <a:ext uri="{FF2B5EF4-FFF2-40B4-BE49-F238E27FC236}">
                  <a16:creationId xmlns:a16="http://schemas.microsoft.com/office/drawing/2014/main" id="{9F4FF34A-2D9E-401F-9D24-DC64E67ED815}"/>
                </a:ext>
              </a:extLst>
            </p:cNvPr>
            <p:cNvSpPr/>
            <p:nvPr/>
          </p:nvSpPr>
          <p:spPr>
            <a:xfrm>
              <a:off x="7738174" y="6088062"/>
              <a:ext cx="1292420" cy="470922"/>
            </a:xfrm>
            <a:prstGeom prst="rect">
              <a:avLst/>
            </a:prstGeom>
          </p:spPr>
          <p:txBody>
            <a:bodyPr wrap="none">
              <a:spAutoFit/>
            </a:bodyPr>
            <a:lstStyle/>
            <a:p>
              <a:pPr marL="0" marR="0" lvl="0" indent="0" algn="ctr" defTabSz="896386"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SUPPLY CHAIN</a:t>
              </a:r>
              <a:b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INSERTION</a:t>
              </a:r>
            </a:p>
          </p:txBody>
        </p:sp>
        <p:grpSp>
          <p:nvGrpSpPr>
            <p:cNvPr id="80" name="Group 79">
              <a:extLst>
                <a:ext uri="{FF2B5EF4-FFF2-40B4-BE49-F238E27FC236}">
                  <a16:creationId xmlns:a16="http://schemas.microsoft.com/office/drawing/2014/main" id="{0DF4747F-7DC3-4C50-BCA1-1C6F088C1896}"/>
                </a:ext>
              </a:extLst>
            </p:cNvPr>
            <p:cNvGrpSpPr/>
            <p:nvPr/>
          </p:nvGrpSpPr>
          <p:grpSpPr>
            <a:xfrm>
              <a:off x="7809772" y="4892274"/>
              <a:ext cx="1149224" cy="1153226"/>
              <a:chOff x="1223686" y="2690585"/>
              <a:chExt cx="2409825" cy="2418218"/>
            </a:xfrm>
          </p:grpSpPr>
          <p:grpSp>
            <p:nvGrpSpPr>
              <p:cNvPr id="81" name="Group 80">
                <a:extLst>
                  <a:ext uri="{FF2B5EF4-FFF2-40B4-BE49-F238E27FC236}">
                    <a16:creationId xmlns:a16="http://schemas.microsoft.com/office/drawing/2014/main" id="{CCBF79D6-AD03-4A1B-865E-18C68BEC343D}"/>
                  </a:ext>
                </a:extLst>
              </p:cNvPr>
              <p:cNvGrpSpPr/>
              <p:nvPr/>
            </p:nvGrpSpPr>
            <p:grpSpPr>
              <a:xfrm>
                <a:off x="1564968" y="3336511"/>
                <a:ext cx="1727260" cy="1342896"/>
                <a:chOff x="3647402" y="1826776"/>
                <a:chExt cx="5123951" cy="3983728"/>
              </a:xfrm>
            </p:grpSpPr>
            <p:sp>
              <p:nvSpPr>
                <p:cNvPr id="92" name="Freeform 134">
                  <a:extLst>
                    <a:ext uri="{FF2B5EF4-FFF2-40B4-BE49-F238E27FC236}">
                      <a16:creationId xmlns:a16="http://schemas.microsoft.com/office/drawing/2014/main" id="{95003833-DC2B-40CC-B600-F0DB77B19760}"/>
                    </a:ext>
                  </a:extLst>
                </p:cNvPr>
                <p:cNvSpPr>
                  <a:spLocks noChangeAspect="1"/>
                </p:cNvSpPr>
                <p:nvPr/>
              </p:nvSpPr>
              <p:spPr bwMode="black">
                <a:xfrm>
                  <a:off x="3647402" y="1826776"/>
                  <a:ext cx="5123951" cy="3965864"/>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 name="connsiteX0" fmla="*/ 472753 w 3433537"/>
                    <a:gd name="connsiteY0" fmla="*/ 2812993 h 3395812"/>
                    <a:gd name="connsiteX1" fmla="*/ 2982396 w 3433537"/>
                    <a:gd name="connsiteY1" fmla="*/ 2812993 h 3395812"/>
                    <a:gd name="connsiteX2" fmla="*/ 2489025 w 3433537"/>
                    <a:gd name="connsiteY2" fmla="*/ 3108135 h 3395812"/>
                    <a:gd name="connsiteX3" fmla="*/ 0 w 3433537"/>
                    <a:gd name="connsiteY3" fmla="*/ 3395812 h 3395812"/>
                    <a:gd name="connsiteX4" fmla="*/ 472753 w 3433537"/>
                    <a:gd name="connsiteY4" fmla="*/ 2812993 h 3395812"/>
                    <a:gd name="connsiteX5" fmla="*/ 805029 w 3433537"/>
                    <a:gd name="connsiteY5" fmla="*/ 2575107 h 3395812"/>
                    <a:gd name="connsiteX6" fmla="*/ 2706847 w 3433537"/>
                    <a:gd name="connsiteY6" fmla="*/ 2575107 h 3395812"/>
                    <a:gd name="connsiteX7" fmla="*/ 2706847 w 3433537"/>
                    <a:gd name="connsiteY7" fmla="*/ 2640526 h 3395812"/>
                    <a:gd name="connsiteX8" fmla="*/ 805029 w 3433537"/>
                    <a:gd name="connsiteY8" fmla="*/ 2640526 h 3395812"/>
                    <a:gd name="connsiteX9" fmla="*/ 805029 w 3433537"/>
                    <a:gd name="connsiteY9" fmla="*/ 2575107 h 3395812"/>
                    <a:gd name="connsiteX10" fmla="*/ 256639 w 3433537"/>
                    <a:gd name="connsiteY10" fmla="*/ 196255 h 3395812"/>
                    <a:gd name="connsiteX11" fmla="*/ 256639 w 3433537"/>
                    <a:gd name="connsiteY11" fmla="*/ 1926870 h 3395812"/>
                    <a:gd name="connsiteX12" fmla="*/ 1375035 w 3433537"/>
                    <a:gd name="connsiteY12" fmla="*/ 1926870 h 3395812"/>
                    <a:gd name="connsiteX13" fmla="*/ 2117934 w 3433537"/>
                    <a:gd name="connsiteY13" fmla="*/ 1926870 h 3395812"/>
                    <a:gd name="connsiteX14" fmla="*/ 3276854 w 3433537"/>
                    <a:gd name="connsiteY14" fmla="*/ 1926870 h 3395812"/>
                    <a:gd name="connsiteX15" fmla="*/ 3276854 w 3433537"/>
                    <a:gd name="connsiteY15" fmla="*/ 196255 h 3395812"/>
                    <a:gd name="connsiteX16" fmla="*/ 256639 w 3433537"/>
                    <a:gd name="connsiteY16" fmla="*/ 196255 h 3395812"/>
                    <a:gd name="connsiteX17" fmla="*/ 1755940 w 3433537"/>
                    <a:gd name="connsiteY17" fmla="*/ 44602 h 3395812"/>
                    <a:gd name="connsiteX18" fmla="*/ 1707314 w 3433537"/>
                    <a:gd name="connsiteY18" fmla="*/ 87720 h 3395812"/>
                    <a:gd name="connsiteX19" fmla="*/ 1755940 w 3433537"/>
                    <a:gd name="connsiteY19" fmla="*/ 130837 h 3395812"/>
                    <a:gd name="connsiteX20" fmla="*/ 1804566 w 3433537"/>
                    <a:gd name="connsiteY20" fmla="*/ 87720 h 3395812"/>
                    <a:gd name="connsiteX21" fmla="*/ 1755940 w 3433537"/>
                    <a:gd name="connsiteY21" fmla="*/ 44602 h 3395812"/>
                    <a:gd name="connsiteX22" fmla="*/ 254932 w 3433537"/>
                    <a:gd name="connsiteY22" fmla="*/ 0 h 3395812"/>
                    <a:gd name="connsiteX23" fmla="*/ 3237327 w 3433537"/>
                    <a:gd name="connsiteY23" fmla="*/ 0 h 3395812"/>
                    <a:gd name="connsiteX24" fmla="*/ 3433538 w 3433537"/>
                    <a:gd name="connsiteY24" fmla="*/ 194633 h 3395812"/>
                    <a:gd name="connsiteX25" fmla="*/ 3433538 w 3433537"/>
                    <a:gd name="connsiteY25" fmla="*/ 1924709 h 3395812"/>
                    <a:gd name="connsiteX26" fmla="*/ 3237327 w 3433537"/>
                    <a:gd name="connsiteY26" fmla="*/ 2140967 h 3395812"/>
                    <a:gd name="connsiteX27" fmla="*/ 2252904 w 3433537"/>
                    <a:gd name="connsiteY27" fmla="*/ 2140967 h 3395812"/>
                    <a:gd name="connsiteX28" fmla="*/ 2117934 w 3433537"/>
                    <a:gd name="connsiteY28" fmla="*/ 2140967 h 3395812"/>
                    <a:gd name="connsiteX29" fmla="*/ 2117934 w 3433537"/>
                    <a:gd name="connsiteY29" fmla="*/ 2271804 h 3395812"/>
                    <a:gd name="connsiteX30" fmla="*/ 2117934 w 3433537"/>
                    <a:gd name="connsiteY30" fmla="*/ 2358036 h 3395812"/>
                    <a:gd name="connsiteX31" fmla="*/ 2550163 w 3433537"/>
                    <a:gd name="connsiteY31" fmla="*/ 2358036 h 3395812"/>
                    <a:gd name="connsiteX32" fmla="*/ 2706847 w 3433537"/>
                    <a:gd name="connsiteY32" fmla="*/ 2575106 h 3395812"/>
                    <a:gd name="connsiteX33" fmla="*/ 805029 w 3433537"/>
                    <a:gd name="connsiteY33" fmla="*/ 2575106 h 3395812"/>
                    <a:gd name="connsiteX34" fmla="*/ 961713 w 3433537"/>
                    <a:gd name="connsiteY34" fmla="*/ 2358036 h 3395812"/>
                    <a:gd name="connsiteX35" fmla="*/ 1375035 w 3433537"/>
                    <a:gd name="connsiteY35" fmla="*/ 2358036 h 3395812"/>
                    <a:gd name="connsiteX36" fmla="*/ 1375035 w 3433537"/>
                    <a:gd name="connsiteY36" fmla="*/ 2271804 h 3395812"/>
                    <a:gd name="connsiteX37" fmla="*/ 1375035 w 3433537"/>
                    <a:gd name="connsiteY37" fmla="*/ 2140967 h 3395812"/>
                    <a:gd name="connsiteX38" fmla="*/ 1224064 w 3433537"/>
                    <a:gd name="connsiteY38" fmla="*/ 2140967 h 3395812"/>
                    <a:gd name="connsiteX39" fmla="*/ 254932 w 3433537"/>
                    <a:gd name="connsiteY39" fmla="*/ 2140967 h 3395812"/>
                    <a:gd name="connsiteX40" fmla="*/ 78343 w 3433537"/>
                    <a:gd name="connsiteY40" fmla="*/ 1924709 h 3395812"/>
                    <a:gd name="connsiteX41" fmla="*/ 78343 w 3433537"/>
                    <a:gd name="connsiteY41" fmla="*/ 194633 h 3395812"/>
                    <a:gd name="connsiteX42" fmla="*/ 254932 w 3433537"/>
                    <a:gd name="connsiteY42" fmla="*/ 0 h 3395812"/>
                    <a:gd name="connsiteX0" fmla="*/ 394411 w 3355195"/>
                    <a:gd name="connsiteY0" fmla="*/ 2812993 h 3108135"/>
                    <a:gd name="connsiteX1" fmla="*/ 2904054 w 3355195"/>
                    <a:gd name="connsiteY1" fmla="*/ 2812993 h 3108135"/>
                    <a:gd name="connsiteX2" fmla="*/ 2410683 w 3355195"/>
                    <a:gd name="connsiteY2" fmla="*/ 3108135 h 3108135"/>
                    <a:gd name="connsiteX3" fmla="*/ 784691 w 3355195"/>
                    <a:gd name="connsiteY3" fmla="*/ 2980278 h 3108135"/>
                    <a:gd name="connsiteX4" fmla="*/ 394411 w 3355195"/>
                    <a:gd name="connsiteY4" fmla="*/ 2812993 h 3108135"/>
                    <a:gd name="connsiteX5" fmla="*/ 726687 w 3355195"/>
                    <a:gd name="connsiteY5" fmla="*/ 2575107 h 3108135"/>
                    <a:gd name="connsiteX6" fmla="*/ 2628505 w 3355195"/>
                    <a:gd name="connsiteY6" fmla="*/ 2575107 h 3108135"/>
                    <a:gd name="connsiteX7" fmla="*/ 2628505 w 3355195"/>
                    <a:gd name="connsiteY7" fmla="*/ 2640526 h 3108135"/>
                    <a:gd name="connsiteX8" fmla="*/ 726687 w 3355195"/>
                    <a:gd name="connsiteY8" fmla="*/ 2640526 h 3108135"/>
                    <a:gd name="connsiteX9" fmla="*/ 726687 w 3355195"/>
                    <a:gd name="connsiteY9" fmla="*/ 2575107 h 3108135"/>
                    <a:gd name="connsiteX10" fmla="*/ 178297 w 3355195"/>
                    <a:gd name="connsiteY10" fmla="*/ 196255 h 3108135"/>
                    <a:gd name="connsiteX11" fmla="*/ 178297 w 3355195"/>
                    <a:gd name="connsiteY11" fmla="*/ 1926870 h 3108135"/>
                    <a:gd name="connsiteX12" fmla="*/ 1296693 w 3355195"/>
                    <a:gd name="connsiteY12" fmla="*/ 1926870 h 3108135"/>
                    <a:gd name="connsiteX13" fmla="*/ 2039592 w 3355195"/>
                    <a:gd name="connsiteY13" fmla="*/ 1926870 h 3108135"/>
                    <a:gd name="connsiteX14" fmla="*/ 3198512 w 3355195"/>
                    <a:gd name="connsiteY14" fmla="*/ 1926870 h 3108135"/>
                    <a:gd name="connsiteX15" fmla="*/ 3198512 w 3355195"/>
                    <a:gd name="connsiteY15" fmla="*/ 196255 h 3108135"/>
                    <a:gd name="connsiteX16" fmla="*/ 178297 w 3355195"/>
                    <a:gd name="connsiteY16" fmla="*/ 196255 h 3108135"/>
                    <a:gd name="connsiteX17" fmla="*/ 1677598 w 3355195"/>
                    <a:gd name="connsiteY17" fmla="*/ 44602 h 3108135"/>
                    <a:gd name="connsiteX18" fmla="*/ 1628972 w 3355195"/>
                    <a:gd name="connsiteY18" fmla="*/ 87720 h 3108135"/>
                    <a:gd name="connsiteX19" fmla="*/ 1677598 w 3355195"/>
                    <a:gd name="connsiteY19" fmla="*/ 130837 h 3108135"/>
                    <a:gd name="connsiteX20" fmla="*/ 1726224 w 3355195"/>
                    <a:gd name="connsiteY20" fmla="*/ 87720 h 3108135"/>
                    <a:gd name="connsiteX21" fmla="*/ 1677598 w 3355195"/>
                    <a:gd name="connsiteY21" fmla="*/ 44602 h 3108135"/>
                    <a:gd name="connsiteX22" fmla="*/ 176590 w 3355195"/>
                    <a:gd name="connsiteY22" fmla="*/ 0 h 3108135"/>
                    <a:gd name="connsiteX23" fmla="*/ 3158985 w 3355195"/>
                    <a:gd name="connsiteY23" fmla="*/ 0 h 3108135"/>
                    <a:gd name="connsiteX24" fmla="*/ 3355196 w 3355195"/>
                    <a:gd name="connsiteY24" fmla="*/ 194633 h 3108135"/>
                    <a:gd name="connsiteX25" fmla="*/ 3355196 w 3355195"/>
                    <a:gd name="connsiteY25" fmla="*/ 1924709 h 3108135"/>
                    <a:gd name="connsiteX26" fmla="*/ 3158985 w 3355195"/>
                    <a:gd name="connsiteY26" fmla="*/ 2140967 h 3108135"/>
                    <a:gd name="connsiteX27" fmla="*/ 2174562 w 3355195"/>
                    <a:gd name="connsiteY27" fmla="*/ 2140967 h 3108135"/>
                    <a:gd name="connsiteX28" fmla="*/ 2039592 w 3355195"/>
                    <a:gd name="connsiteY28" fmla="*/ 2140967 h 3108135"/>
                    <a:gd name="connsiteX29" fmla="*/ 2039592 w 3355195"/>
                    <a:gd name="connsiteY29" fmla="*/ 2271804 h 3108135"/>
                    <a:gd name="connsiteX30" fmla="*/ 2039592 w 3355195"/>
                    <a:gd name="connsiteY30" fmla="*/ 2358036 h 3108135"/>
                    <a:gd name="connsiteX31" fmla="*/ 2471821 w 3355195"/>
                    <a:gd name="connsiteY31" fmla="*/ 2358036 h 3108135"/>
                    <a:gd name="connsiteX32" fmla="*/ 2628505 w 3355195"/>
                    <a:gd name="connsiteY32" fmla="*/ 2575106 h 3108135"/>
                    <a:gd name="connsiteX33" fmla="*/ 726687 w 3355195"/>
                    <a:gd name="connsiteY33" fmla="*/ 2575106 h 3108135"/>
                    <a:gd name="connsiteX34" fmla="*/ 883371 w 3355195"/>
                    <a:gd name="connsiteY34" fmla="*/ 2358036 h 3108135"/>
                    <a:gd name="connsiteX35" fmla="*/ 1296693 w 3355195"/>
                    <a:gd name="connsiteY35" fmla="*/ 2358036 h 3108135"/>
                    <a:gd name="connsiteX36" fmla="*/ 1296693 w 3355195"/>
                    <a:gd name="connsiteY36" fmla="*/ 2271804 h 3108135"/>
                    <a:gd name="connsiteX37" fmla="*/ 1296693 w 3355195"/>
                    <a:gd name="connsiteY37" fmla="*/ 2140967 h 3108135"/>
                    <a:gd name="connsiteX38" fmla="*/ 1145722 w 3355195"/>
                    <a:gd name="connsiteY38" fmla="*/ 2140967 h 3108135"/>
                    <a:gd name="connsiteX39" fmla="*/ 176590 w 3355195"/>
                    <a:gd name="connsiteY39" fmla="*/ 2140967 h 3108135"/>
                    <a:gd name="connsiteX40" fmla="*/ 1 w 3355195"/>
                    <a:gd name="connsiteY40" fmla="*/ 1924709 h 3108135"/>
                    <a:gd name="connsiteX41" fmla="*/ 1 w 3355195"/>
                    <a:gd name="connsiteY41" fmla="*/ 194633 h 3108135"/>
                    <a:gd name="connsiteX42" fmla="*/ 176590 w 3355195"/>
                    <a:gd name="connsiteY42" fmla="*/ 0 h 3108135"/>
                    <a:gd name="connsiteX0" fmla="*/ 394411 w 3355195"/>
                    <a:gd name="connsiteY0" fmla="*/ 2812993 h 2980278"/>
                    <a:gd name="connsiteX1" fmla="*/ 2904054 w 3355195"/>
                    <a:gd name="connsiteY1" fmla="*/ 2812993 h 2980278"/>
                    <a:gd name="connsiteX2" fmla="*/ 2474611 w 3355195"/>
                    <a:gd name="connsiteY2" fmla="*/ 2820458 h 2980278"/>
                    <a:gd name="connsiteX3" fmla="*/ 784691 w 3355195"/>
                    <a:gd name="connsiteY3" fmla="*/ 2980278 h 2980278"/>
                    <a:gd name="connsiteX4" fmla="*/ 394411 w 3355195"/>
                    <a:gd name="connsiteY4" fmla="*/ 2812993 h 2980278"/>
                    <a:gd name="connsiteX5" fmla="*/ 726687 w 3355195"/>
                    <a:gd name="connsiteY5" fmla="*/ 2575107 h 2980278"/>
                    <a:gd name="connsiteX6" fmla="*/ 2628505 w 3355195"/>
                    <a:gd name="connsiteY6" fmla="*/ 2575107 h 2980278"/>
                    <a:gd name="connsiteX7" fmla="*/ 2628505 w 3355195"/>
                    <a:gd name="connsiteY7" fmla="*/ 2640526 h 2980278"/>
                    <a:gd name="connsiteX8" fmla="*/ 726687 w 3355195"/>
                    <a:gd name="connsiteY8" fmla="*/ 2640526 h 2980278"/>
                    <a:gd name="connsiteX9" fmla="*/ 726687 w 3355195"/>
                    <a:gd name="connsiteY9" fmla="*/ 2575107 h 2980278"/>
                    <a:gd name="connsiteX10" fmla="*/ 178297 w 3355195"/>
                    <a:gd name="connsiteY10" fmla="*/ 196255 h 2980278"/>
                    <a:gd name="connsiteX11" fmla="*/ 178297 w 3355195"/>
                    <a:gd name="connsiteY11" fmla="*/ 1926870 h 2980278"/>
                    <a:gd name="connsiteX12" fmla="*/ 1296693 w 3355195"/>
                    <a:gd name="connsiteY12" fmla="*/ 1926870 h 2980278"/>
                    <a:gd name="connsiteX13" fmla="*/ 2039592 w 3355195"/>
                    <a:gd name="connsiteY13" fmla="*/ 1926870 h 2980278"/>
                    <a:gd name="connsiteX14" fmla="*/ 3198512 w 3355195"/>
                    <a:gd name="connsiteY14" fmla="*/ 1926870 h 2980278"/>
                    <a:gd name="connsiteX15" fmla="*/ 3198512 w 3355195"/>
                    <a:gd name="connsiteY15" fmla="*/ 196255 h 2980278"/>
                    <a:gd name="connsiteX16" fmla="*/ 178297 w 3355195"/>
                    <a:gd name="connsiteY16" fmla="*/ 196255 h 2980278"/>
                    <a:gd name="connsiteX17" fmla="*/ 1677598 w 3355195"/>
                    <a:gd name="connsiteY17" fmla="*/ 44602 h 2980278"/>
                    <a:gd name="connsiteX18" fmla="*/ 1628972 w 3355195"/>
                    <a:gd name="connsiteY18" fmla="*/ 87720 h 2980278"/>
                    <a:gd name="connsiteX19" fmla="*/ 1677598 w 3355195"/>
                    <a:gd name="connsiteY19" fmla="*/ 130837 h 2980278"/>
                    <a:gd name="connsiteX20" fmla="*/ 1726224 w 3355195"/>
                    <a:gd name="connsiteY20" fmla="*/ 87720 h 2980278"/>
                    <a:gd name="connsiteX21" fmla="*/ 1677598 w 3355195"/>
                    <a:gd name="connsiteY21" fmla="*/ 44602 h 2980278"/>
                    <a:gd name="connsiteX22" fmla="*/ 176590 w 3355195"/>
                    <a:gd name="connsiteY22" fmla="*/ 0 h 2980278"/>
                    <a:gd name="connsiteX23" fmla="*/ 3158985 w 3355195"/>
                    <a:gd name="connsiteY23" fmla="*/ 0 h 2980278"/>
                    <a:gd name="connsiteX24" fmla="*/ 3355196 w 3355195"/>
                    <a:gd name="connsiteY24" fmla="*/ 194633 h 2980278"/>
                    <a:gd name="connsiteX25" fmla="*/ 3355196 w 3355195"/>
                    <a:gd name="connsiteY25" fmla="*/ 1924709 h 2980278"/>
                    <a:gd name="connsiteX26" fmla="*/ 3158985 w 3355195"/>
                    <a:gd name="connsiteY26" fmla="*/ 2140967 h 2980278"/>
                    <a:gd name="connsiteX27" fmla="*/ 2174562 w 3355195"/>
                    <a:gd name="connsiteY27" fmla="*/ 2140967 h 2980278"/>
                    <a:gd name="connsiteX28" fmla="*/ 2039592 w 3355195"/>
                    <a:gd name="connsiteY28" fmla="*/ 2140967 h 2980278"/>
                    <a:gd name="connsiteX29" fmla="*/ 2039592 w 3355195"/>
                    <a:gd name="connsiteY29" fmla="*/ 2271804 h 2980278"/>
                    <a:gd name="connsiteX30" fmla="*/ 2039592 w 3355195"/>
                    <a:gd name="connsiteY30" fmla="*/ 2358036 h 2980278"/>
                    <a:gd name="connsiteX31" fmla="*/ 2471821 w 3355195"/>
                    <a:gd name="connsiteY31" fmla="*/ 2358036 h 2980278"/>
                    <a:gd name="connsiteX32" fmla="*/ 2628505 w 3355195"/>
                    <a:gd name="connsiteY32" fmla="*/ 2575106 h 2980278"/>
                    <a:gd name="connsiteX33" fmla="*/ 726687 w 3355195"/>
                    <a:gd name="connsiteY33" fmla="*/ 2575106 h 2980278"/>
                    <a:gd name="connsiteX34" fmla="*/ 883371 w 3355195"/>
                    <a:gd name="connsiteY34" fmla="*/ 2358036 h 2980278"/>
                    <a:gd name="connsiteX35" fmla="*/ 1296693 w 3355195"/>
                    <a:gd name="connsiteY35" fmla="*/ 2358036 h 2980278"/>
                    <a:gd name="connsiteX36" fmla="*/ 1296693 w 3355195"/>
                    <a:gd name="connsiteY36" fmla="*/ 2271804 h 2980278"/>
                    <a:gd name="connsiteX37" fmla="*/ 1296693 w 3355195"/>
                    <a:gd name="connsiteY37" fmla="*/ 2140967 h 2980278"/>
                    <a:gd name="connsiteX38" fmla="*/ 1145722 w 3355195"/>
                    <a:gd name="connsiteY38" fmla="*/ 2140967 h 2980278"/>
                    <a:gd name="connsiteX39" fmla="*/ 176590 w 3355195"/>
                    <a:gd name="connsiteY39" fmla="*/ 2140967 h 2980278"/>
                    <a:gd name="connsiteX40" fmla="*/ 1 w 3355195"/>
                    <a:gd name="connsiteY40" fmla="*/ 1924709 h 2980278"/>
                    <a:gd name="connsiteX41" fmla="*/ 1 w 3355195"/>
                    <a:gd name="connsiteY41" fmla="*/ 194633 h 2980278"/>
                    <a:gd name="connsiteX42" fmla="*/ 176590 w 3355195"/>
                    <a:gd name="connsiteY42" fmla="*/ 0 h 2980278"/>
                    <a:gd name="connsiteX0" fmla="*/ 394411 w 3355195"/>
                    <a:gd name="connsiteY0" fmla="*/ 2812993 h 2820457"/>
                    <a:gd name="connsiteX1" fmla="*/ 2904054 w 3355195"/>
                    <a:gd name="connsiteY1" fmla="*/ 2812993 h 2820457"/>
                    <a:gd name="connsiteX2" fmla="*/ 2474611 w 3355195"/>
                    <a:gd name="connsiteY2" fmla="*/ 2820458 h 2820457"/>
                    <a:gd name="connsiteX3" fmla="*/ 465049 w 3355195"/>
                    <a:gd name="connsiteY3" fmla="*/ 2788493 h 2820457"/>
                    <a:gd name="connsiteX4" fmla="*/ 394411 w 3355195"/>
                    <a:gd name="connsiteY4" fmla="*/ 2812993 h 2820457"/>
                    <a:gd name="connsiteX5" fmla="*/ 726687 w 3355195"/>
                    <a:gd name="connsiteY5" fmla="*/ 2575107 h 2820457"/>
                    <a:gd name="connsiteX6" fmla="*/ 2628505 w 3355195"/>
                    <a:gd name="connsiteY6" fmla="*/ 2575107 h 2820457"/>
                    <a:gd name="connsiteX7" fmla="*/ 2628505 w 3355195"/>
                    <a:gd name="connsiteY7" fmla="*/ 2640526 h 2820457"/>
                    <a:gd name="connsiteX8" fmla="*/ 726687 w 3355195"/>
                    <a:gd name="connsiteY8" fmla="*/ 2640526 h 2820457"/>
                    <a:gd name="connsiteX9" fmla="*/ 726687 w 3355195"/>
                    <a:gd name="connsiteY9" fmla="*/ 2575107 h 2820457"/>
                    <a:gd name="connsiteX10" fmla="*/ 178297 w 3355195"/>
                    <a:gd name="connsiteY10" fmla="*/ 196255 h 2820457"/>
                    <a:gd name="connsiteX11" fmla="*/ 178297 w 3355195"/>
                    <a:gd name="connsiteY11" fmla="*/ 1926870 h 2820457"/>
                    <a:gd name="connsiteX12" fmla="*/ 1296693 w 3355195"/>
                    <a:gd name="connsiteY12" fmla="*/ 1926870 h 2820457"/>
                    <a:gd name="connsiteX13" fmla="*/ 2039592 w 3355195"/>
                    <a:gd name="connsiteY13" fmla="*/ 1926870 h 2820457"/>
                    <a:gd name="connsiteX14" fmla="*/ 3198512 w 3355195"/>
                    <a:gd name="connsiteY14" fmla="*/ 1926870 h 2820457"/>
                    <a:gd name="connsiteX15" fmla="*/ 3198512 w 3355195"/>
                    <a:gd name="connsiteY15" fmla="*/ 196255 h 2820457"/>
                    <a:gd name="connsiteX16" fmla="*/ 178297 w 3355195"/>
                    <a:gd name="connsiteY16" fmla="*/ 196255 h 2820457"/>
                    <a:gd name="connsiteX17" fmla="*/ 1677598 w 3355195"/>
                    <a:gd name="connsiteY17" fmla="*/ 44602 h 2820457"/>
                    <a:gd name="connsiteX18" fmla="*/ 1628972 w 3355195"/>
                    <a:gd name="connsiteY18" fmla="*/ 87720 h 2820457"/>
                    <a:gd name="connsiteX19" fmla="*/ 1677598 w 3355195"/>
                    <a:gd name="connsiteY19" fmla="*/ 130837 h 2820457"/>
                    <a:gd name="connsiteX20" fmla="*/ 1726224 w 3355195"/>
                    <a:gd name="connsiteY20" fmla="*/ 87720 h 2820457"/>
                    <a:gd name="connsiteX21" fmla="*/ 1677598 w 3355195"/>
                    <a:gd name="connsiteY21" fmla="*/ 44602 h 2820457"/>
                    <a:gd name="connsiteX22" fmla="*/ 176590 w 3355195"/>
                    <a:gd name="connsiteY22" fmla="*/ 0 h 2820457"/>
                    <a:gd name="connsiteX23" fmla="*/ 3158985 w 3355195"/>
                    <a:gd name="connsiteY23" fmla="*/ 0 h 2820457"/>
                    <a:gd name="connsiteX24" fmla="*/ 3355196 w 3355195"/>
                    <a:gd name="connsiteY24" fmla="*/ 194633 h 2820457"/>
                    <a:gd name="connsiteX25" fmla="*/ 3355196 w 3355195"/>
                    <a:gd name="connsiteY25" fmla="*/ 1924709 h 2820457"/>
                    <a:gd name="connsiteX26" fmla="*/ 3158985 w 3355195"/>
                    <a:gd name="connsiteY26" fmla="*/ 2140967 h 2820457"/>
                    <a:gd name="connsiteX27" fmla="*/ 2174562 w 3355195"/>
                    <a:gd name="connsiteY27" fmla="*/ 2140967 h 2820457"/>
                    <a:gd name="connsiteX28" fmla="*/ 2039592 w 3355195"/>
                    <a:gd name="connsiteY28" fmla="*/ 2140967 h 2820457"/>
                    <a:gd name="connsiteX29" fmla="*/ 2039592 w 3355195"/>
                    <a:gd name="connsiteY29" fmla="*/ 2271804 h 2820457"/>
                    <a:gd name="connsiteX30" fmla="*/ 2039592 w 3355195"/>
                    <a:gd name="connsiteY30" fmla="*/ 2358036 h 2820457"/>
                    <a:gd name="connsiteX31" fmla="*/ 2471821 w 3355195"/>
                    <a:gd name="connsiteY31" fmla="*/ 2358036 h 2820457"/>
                    <a:gd name="connsiteX32" fmla="*/ 2628505 w 3355195"/>
                    <a:gd name="connsiteY32" fmla="*/ 2575106 h 2820457"/>
                    <a:gd name="connsiteX33" fmla="*/ 726687 w 3355195"/>
                    <a:gd name="connsiteY33" fmla="*/ 2575106 h 2820457"/>
                    <a:gd name="connsiteX34" fmla="*/ 883371 w 3355195"/>
                    <a:gd name="connsiteY34" fmla="*/ 2358036 h 2820457"/>
                    <a:gd name="connsiteX35" fmla="*/ 1296693 w 3355195"/>
                    <a:gd name="connsiteY35" fmla="*/ 2358036 h 2820457"/>
                    <a:gd name="connsiteX36" fmla="*/ 1296693 w 3355195"/>
                    <a:gd name="connsiteY36" fmla="*/ 2271804 h 2820457"/>
                    <a:gd name="connsiteX37" fmla="*/ 1296693 w 3355195"/>
                    <a:gd name="connsiteY37" fmla="*/ 2140967 h 2820457"/>
                    <a:gd name="connsiteX38" fmla="*/ 1145722 w 3355195"/>
                    <a:gd name="connsiteY38" fmla="*/ 2140967 h 2820457"/>
                    <a:gd name="connsiteX39" fmla="*/ 176590 w 3355195"/>
                    <a:gd name="connsiteY39" fmla="*/ 2140967 h 2820457"/>
                    <a:gd name="connsiteX40" fmla="*/ 1 w 3355195"/>
                    <a:gd name="connsiteY40" fmla="*/ 1924709 h 2820457"/>
                    <a:gd name="connsiteX41" fmla="*/ 1 w 3355195"/>
                    <a:gd name="connsiteY41" fmla="*/ 194633 h 2820457"/>
                    <a:gd name="connsiteX42" fmla="*/ 176590 w 3355195"/>
                    <a:gd name="connsiteY42" fmla="*/ 0 h 2820457"/>
                    <a:gd name="connsiteX0" fmla="*/ 394411 w 3355195"/>
                    <a:gd name="connsiteY0" fmla="*/ 2812993 h 2820457"/>
                    <a:gd name="connsiteX1" fmla="*/ 2904054 w 3355195"/>
                    <a:gd name="connsiteY1" fmla="*/ 2812993 h 2820457"/>
                    <a:gd name="connsiteX2" fmla="*/ 2474611 w 3355195"/>
                    <a:gd name="connsiteY2" fmla="*/ 2820458 h 2820457"/>
                    <a:gd name="connsiteX3" fmla="*/ 465049 w 3355195"/>
                    <a:gd name="connsiteY3" fmla="*/ 2788493 h 2820457"/>
                    <a:gd name="connsiteX4" fmla="*/ 394411 w 3355195"/>
                    <a:gd name="connsiteY4" fmla="*/ 2812993 h 2820457"/>
                    <a:gd name="connsiteX5" fmla="*/ 726687 w 3355195"/>
                    <a:gd name="connsiteY5" fmla="*/ 2575107 h 2820457"/>
                    <a:gd name="connsiteX6" fmla="*/ 2628505 w 3355195"/>
                    <a:gd name="connsiteY6" fmla="*/ 2575107 h 2820457"/>
                    <a:gd name="connsiteX7" fmla="*/ 2628505 w 3355195"/>
                    <a:gd name="connsiteY7" fmla="*/ 2640526 h 2820457"/>
                    <a:gd name="connsiteX8" fmla="*/ 726687 w 3355195"/>
                    <a:gd name="connsiteY8" fmla="*/ 2640526 h 2820457"/>
                    <a:gd name="connsiteX9" fmla="*/ 726687 w 3355195"/>
                    <a:gd name="connsiteY9" fmla="*/ 2575107 h 2820457"/>
                    <a:gd name="connsiteX10" fmla="*/ 178297 w 3355195"/>
                    <a:gd name="connsiteY10" fmla="*/ 196255 h 2820457"/>
                    <a:gd name="connsiteX11" fmla="*/ 178297 w 3355195"/>
                    <a:gd name="connsiteY11" fmla="*/ 1926870 h 2820457"/>
                    <a:gd name="connsiteX12" fmla="*/ 1296693 w 3355195"/>
                    <a:gd name="connsiteY12" fmla="*/ 1926870 h 2820457"/>
                    <a:gd name="connsiteX13" fmla="*/ 2039592 w 3355195"/>
                    <a:gd name="connsiteY13" fmla="*/ 1926870 h 2820457"/>
                    <a:gd name="connsiteX14" fmla="*/ 3198512 w 3355195"/>
                    <a:gd name="connsiteY14" fmla="*/ 1926870 h 2820457"/>
                    <a:gd name="connsiteX15" fmla="*/ 3198512 w 3355195"/>
                    <a:gd name="connsiteY15" fmla="*/ 196255 h 2820457"/>
                    <a:gd name="connsiteX16" fmla="*/ 178297 w 3355195"/>
                    <a:gd name="connsiteY16" fmla="*/ 196255 h 2820457"/>
                    <a:gd name="connsiteX17" fmla="*/ 1677598 w 3355195"/>
                    <a:gd name="connsiteY17" fmla="*/ 44602 h 2820457"/>
                    <a:gd name="connsiteX18" fmla="*/ 1628972 w 3355195"/>
                    <a:gd name="connsiteY18" fmla="*/ 87720 h 2820457"/>
                    <a:gd name="connsiteX19" fmla="*/ 1677598 w 3355195"/>
                    <a:gd name="connsiteY19" fmla="*/ 130837 h 2820457"/>
                    <a:gd name="connsiteX20" fmla="*/ 1726224 w 3355195"/>
                    <a:gd name="connsiteY20" fmla="*/ 87720 h 2820457"/>
                    <a:gd name="connsiteX21" fmla="*/ 1677598 w 3355195"/>
                    <a:gd name="connsiteY21" fmla="*/ 44602 h 2820457"/>
                    <a:gd name="connsiteX22" fmla="*/ 176590 w 3355195"/>
                    <a:gd name="connsiteY22" fmla="*/ 0 h 2820457"/>
                    <a:gd name="connsiteX23" fmla="*/ 3158985 w 3355195"/>
                    <a:gd name="connsiteY23" fmla="*/ 0 h 2820457"/>
                    <a:gd name="connsiteX24" fmla="*/ 3355196 w 3355195"/>
                    <a:gd name="connsiteY24" fmla="*/ 194633 h 2820457"/>
                    <a:gd name="connsiteX25" fmla="*/ 3355196 w 3355195"/>
                    <a:gd name="connsiteY25" fmla="*/ 1924709 h 2820457"/>
                    <a:gd name="connsiteX26" fmla="*/ 3158985 w 3355195"/>
                    <a:gd name="connsiteY26" fmla="*/ 2140967 h 2820457"/>
                    <a:gd name="connsiteX27" fmla="*/ 2174562 w 3355195"/>
                    <a:gd name="connsiteY27" fmla="*/ 2140967 h 2820457"/>
                    <a:gd name="connsiteX28" fmla="*/ 2039592 w 3355195"/>
                    <a:gd name="connsiteY28" fmla="*/ 2140967 h 2820457"/>
                    <a:gd name="connsiteX29" fmla="*/ 2039592 w 3355195"/>
                    <a:gd name="connsiteY29" fmla="*/ 2271804 h 2820457"/>
                    <a:gd name="connsiteX30" fmla="*/ 2039592 w 3355195"/>
                    <a:gd name="connsiteY30" fmla="*/ 2358036 h 2820457"/>
                    <a:gd name="connsiteX31" fmla="*/ 2471821 w 3355195"/>
                    <a:gd name="connsiteY31" fmla="*/ 2358036 h 2820457"/>
                    <a:gd name="connsiteX32" fmla="*/ 2628505 w 3355195"/>
                    <a:gd name="connsiteY32" fmla="*/ 2575106 h 2820457"/>
                    <a:gd name="connsiteX33" fmla="*/ 726687 w 3355195"/>
                    <a:gd name="connsiteY33" fmla="*/ 2575106 h 2820457"/>
                    <a:gd name="connsiteX34" fmla="*/ 883371 w 3355195"/>
                    <a:gd name="connsiteY34" fmla="*/ 2358036 h 2820457"/>
                    <a:gd name="connsiteX35" fmla="*/ 1296693 w 3355195"/>
                    <a:gd name="connsiteY35" fmla="*/ 2358036 h 2820457"/>
                    <a:gd name="connsiteX36" fmla="*/ 1296693 w 3355195"/>
                    <a:gd name="connsiteY36" fmla="*/ 2271804 h 2820457"/>
                    <a:gd name="connsiteX37" fmla="*/ 1296693 w 3355195"/>
                    <a:gd name="connsiteY37" fmla="*/ 2140967 h 2820457"/>
                    <a:gd name="connsiteX38" fmla="*/ 1145722 w 3355195"/>
                    <a:gd name="connsiteY38" fmla="*/ 2140967 h 2820457"/>
                    <a:gd name="connsiteX39" fmla="*/ 176590 w 3355195"/>
                    <a:gd name="connsiteY39" fmla="*/ 2140967 h 2820457"/>
                    <a:gd name="connsiteX40" fmla="*/ 1 w 3355195"/>
                    <a:gd name="connsiteY40" fmla="*/ 1924709 h 2820457"/>
                    <a:gd name="connsiteX41" fmla="*/ 1 w 3355195"/>
                    <a:gd name="connsiteY41" fmla="*/ 194633 h 2820457"/>
                    <a:gd name="connsiteX42" fmla="*/ 176590 w 3355195"/>
                    <a:gd name="connsiteY42" fmla="*/ 0 h 2820457"/>
                    <a:gd name="connsiteX0" fmla="*/ 394410 w 3355195"/>
                    <a:gd name="connsiteY0" fmla="*/ 2812993 h 2820458"/>
                    <a:gd name="connsiteX1" fmla="*/ 2904053 w 3355195"/>
                    <a:gd name="connsiteY1" fmla="*/ 2812993 h 2820458"/>
                    <a:gd name="connsiteX2" fmla="*/ 2474610 w 3355195"/>
                    <a:gd name="connsiteY2" fmla="*/ 2820458 h 2820458"/>
                    <a:gd name="connsiteX3" fmla="*/ 465048 w 3355195"/>
                    <a:gd name="connsiteY3" fmla="*/ 2788493 h 2820458"/>
                    <a:gd name="connsiteX4" fmla="*/ 394410 w 3355195"/>
                    <a:gd name="connsiteY4" fmla="*/ 2812993 h 2820458"/>
                    <a:gd name="connsiteX5" fmla="*/ 726686 w 3355195"/>
                    <a:gd name="connsiteY5" fmla="*/ 2575107 h 2820458"/>
                    <a:gd name="connsiteX6" fmla="*/ 2628504 w 3355195"/>
                    <a:gd name="connsiteY6" fmla="*/ 2575107 h 2820458"/>
                    <a:gd name="connsiteX7" fmla="*/ 2628504 w 3355195"/>
                    <a:gd name="connsiteY7" fmla="*/ 2640526 h 2820458"/>
                    <a:gd name="connsiteX8" fmla="*/ 726686 w 3355195"/>
                    <a:gd name="connsiteY8" fmla="*/ 2640526 h 2820458"/>
                    <a:gd name="connsiteX9" fmla="*/ 726686 w 3355195"/>
                    <a:gd name="connsiteY9" fmla="*/ 2575107 h 2820458"/>
                    <a:gd name="connsiteX10" fmla="*/ 178296 w 3355195"/>
                    <a:gd name="connsiteY10" fmla="*/ 196255 h 2820458"/>
                    <a:gd name="connsiteX11" fmla="*/ 178296 w 3355195"/>
                    <a:gd name="connsiteY11" fmla="*/ 1926870 h 2820458"/>
                    <a:gd name="connsiteX12" fmla="*/ 1296692 w 3355195"/>
                    <a:gd name="connsiteY12" fmla="*/ 1926870 h 2820458"/>
                    <a:gd name="connsiteX13" fmla="*/ 2039591 w 3355195"/>
                    <a:gd name="connsiteY13" fmla="*/ 1926870 h 2820458"/>
                    <a:gd name="connsiteX14" fmla="*/ 3198511 w 3355195"/>
                    <a:gd name="connsiteY14" fmla="*/ 1926870 h 2820458"/>
                    <a:gd name="connsiteX15" fmla="*/ 3198511 w 3355195"/>
                    <a:gd name="connsiteY15" fmla="*/ 196255 h 2820458"/>
                    <a:gd name="connsiteX16" fmla="*/ 178296 w 3355195"/>
                    <a:gd name="connsiteY16" fmla="*/ 196255 h 2820458"/>
                    <a:gd name="connsiteX17" fmla="*/ 1677597 w 3355195"/>
                    <a:gd name="connsiteY17" fmla="*/ 44602 h 2820458"/>
                    <a:gd name="connsiteX18" fmla="*/ 1628971 w 3355195"/>
                    <a:gd name="connsiteY18" fmla="*/ 87720 h 2820458"/>
                    <a:gd name="connsiteX19" fmla="*/ 1677597 w 3355195"/>
                    <a:gd name="connsiteY19" fmla="*/ 130837 h 2820458"/>
                    <a:gd name="connsiteX20" fmla="*/ 1726223 w 3355195"/>
                    <a:gd name="connsiteY20" fmla="*/ 87720 h 2820458"/>
                    <a:gd name="connsiteX21" fmla="*/ 1677597 w 3355195"/>
                    <a:gd name="connsiteY21" fmla="*/ 44602 h 2820458"/>
                    <a:gd name="connsiteX22" fmla="*/ 176589 w 3355195"/>
                    <a:gd name="connsiteY22" fmla="*/ 0 h 2820458"/>
                    <a:gd name="connsiteX23" fmla="*/ 3158984 w 3355195"/>
                    <a:gd name="connsiteY23" fmla="*/ 0 h 2820458"/>
                    <a:gd name="connsiteX24" fmla="*/ 3355195 w 3355195"/>
                    <a:gd name="connsiteY24" fmla="*/ 194633 h 2820458"/>
                    <a:gd name="connsiteX25" fmla="*/ 3355195 w 3355195"/>
                    <a:gd name="connsiteY25" fmla="*/ 1924709 h 2820458"/>
                    <a:gd name="connsiteX26" fmla="*/ 3158984 w 3355195"/>
                    <a:gd name="connsiteY26" fmla="*/ 2140967 h 2820458"/>
                    <a:gd name="connsiteX27" fmla="*/ 2174561 w 3355195"/>
                    <a:gd name="connsiteY27" fmla="*/ 2140967 h 2820458"/>
                    <a:gd name="connsiteX28" fmla="*/ 2039591 w 3355195"/>
                    <a:gd name="connsiteY28" fmla="*/ 2140967 h 2820458"/>
                    <a:gd name="connsiteX29" fmla="*/ 2039591 w 3355195"/>
                    <a:gd name="connsiteY29" fmla="*/ 2271804 h 2820458"/>
                    <a:gd name="connsiteX30" fmla="*/ 2039591 w 3355195"/>
                    <a:gd name="connsiteY30" fmla="*/ 2358036 h 2820458"/>
                    <a:gd name="connsiteX31" fmla="*/ 2471820 w 3355195"/>
                    <a:gd name="connsiteY31" fmla="*/ 2358036 h 2820458"/>
                    <a:gd name="connsiteX32" fmla="*/ 2628504 w 3355195"/>
                    <a:gd name="connsiteY32" fmla="*/ 2575106 h 2820458"/>
                    <a:gd name="connsiteX33" fmla="*/ 726686 w 3355195"/>
                    <a:gd name="connsiteY33" fmla="*/ 2575106 h 2820458"/>
                    <a:gd name="connsiteX34" fmla="*/ 883370 w 3355195"/>
                    <a:gd name="connsiteY34" fmla="*/ 2358036 h 2820458"/>
                    <a:gd name="connsiteX35" fmla="*/ 1296692 w 3355195"/>
                    <a:gd name="connsiteY35" fmla="*/ 2358036 h 2820458"/>
                    <a:gd name="connsiteX36" fmla="*/ 1296692 w 3355195"/>
                    <a:gd name="connsiteY36" fmla="*/ 2271804 h 2820458"/>
                    <a:gd name="connsiteX37" fmla="*/ 1296692 w 3355195"/>
                    <a:gd name="connsiteY37" fmla="*/ 2140967 h 2820458"/>
                    <a:gd name="connsiteX38" fmla="*/ 1145721 w 3355195"/>
                    <a:gd name="connsiteY38" fmla="*/ 2140967 h 2820458"/>
                    <a:gd name="connsiteX39" fmla="*/ 176589 w 3355195"/>
                    <a:gd name="connsiteY39" fmla="*/ 2140967 h 2820458"/>
                    <a:gd name="connsiteX40" fmla="*/ 0 w 3355195"/>
                    <a:gd name="connsiteY40" fmla="*/ 1924709 h 2820458"/>
                    <a:gd name="connsiteX41" fmla="*/ 0 w 3355195"/>
                    <a:gd name="connsiteY41" fmla="*/ 194633 h 2820458"/>
                    <a:gd name="connsiteX42" fmla="*/ 176589 w 3355195"/>
                    <a:gd name="connsiteY42" fmla="*/ 0 h 2820458"/>
                    <a:gd name="connsiteX0" fmla="*/ 743684 w 3355195"/>
                    <a:gd name="connsiteY0" fmla="*/ 2632120 h 2820458"/>
                    <a:gd name="connsiteX1" fmla="*/ 2904053 w 3355195"/>
                    <a:gd name="connsiteY1" fmla="*/ 2812993 h 2820458"/>
                    <a:gd name="connsiteX2" fmla="*/ 2474610 w 3355195"/>
                    <a:gd name="connsiteY2" fmla="*/ 2820458 h 2820458"/>
                    <a:gd name="connsiteX3" fmla="*/ 465048 w 3355195"/>
                    <a:gd name="connsiteY3" fmla="*/ 2788493 h 2820458"/>
                    <a:gd name="connsiteX4" fmla="*/ 743684 w 3355195"/>
                    <a:gd name="connsiteY4" fmla="*/ 2632120 h 2820458"/>
                    <a:gd name="connsiteX5" fmla="*/ 726686 w 3355195"/>
                    <a:gd name="connsiteY5" fmla="*/ 2575107 h 2820458"/>
                    <a:gd name="connsiteX6" fmla="*/ 2628504 w 3355195"/>
                    <a:gd name="connsiteY6" fmla="*/ 2575107 h 2820458"/>
                    <a:gd name="connsiteX7" fmla="*/ 2628504 w 3355195"/>
                    <a:gd name="connsiteY7" fmla="*/ 2640526 h 2820458"/>
                    <a:gd name="connsiteX8" fmla="*/ 726686 w 3355195"/>
                    <a:gd name="connsiteY8" fmla="*/ 2640526 h 2820458"/>
                    <a:gd name="connsiteX9" fmla="*/ 726686 w 3355195"/>
                    <a:gd name="connsiteY9" fmla="*/ 2575107 h 2820458"/>
                    <a:gd name="connsiteX10" fmla="*/ 178296 w 3355195"/>
                    <a:gd name="connsiteY10" fmla="*/ 196255 h 2820458"/>
                    <a:gd name="connsiteX11" fmla="*/ 178296 w 3355195"/>
                    <a:gd name="connsiteY11" fmla="*/ 1926870 h 2820458"/>
                    <a:gd name="connsiteX12" fmla="*/ 1296692 w 3355195"/>
                    <a:gd name="connsiteY12" fmla="*/ 1926870 h 2820458"/>
                    <a:gd name="connsiteX13" fmla="*/ 2039591 w 3355195"/>
                    <a:gd name="connsiteY13" fmla="*/ 1926870 h 2820458"/>
                    <a:gd name="connsiteX14" fmla="*/ 3198511 w 3355195"/>
                    <a:gd name="connsiteY14" fmla="*/ 1926870 h 2820458"/>
                    <a:gd name="connsiteX15" fmla="*/ 3198511 w 3355195"/>
                    <a:gd name="connsiteY15" fmla="*/ 196255 h 2820458"/>
                    <a:gd name="connsiteX16" fmla="*/ 178296 w 3355195"/>
                    <a:gd name="connsiteY16" fmla="*/ 196255 h 2820458"/>
                    <a:gd name="connsiteX17" fmla="*/ 1677597 w 3355195"/>
                    <a:gd name="connsiteY17" fmla="*/ 44602 h 2820458"/>
                    <a:gd name="connsiteX18" fmla="*/ 1628971 w 3355195"/>
                    <a:gd name="connsiteY18" fmla="*/ 87720 h 2820458"/>
                    <a:gd name="connsiteX19" fmla="*/ 1677597 w 3355195"/>
                    <a:gd name="connsiteY19" fmla="*/ 130837 h 2820458"/>
                    <a:gd name="connsiteX20" fmla="*/ 1726223 w 3355195"/>
                    <a:gd name="connsiteY20" fmla="*/ 87720 h 2820458"/>
                    <a:gd name="connsiteX21" fmla="*/ 1677597 w 3355195"/>
                    <a:gd name="connsiteY21" fmla="*/ 44602 h 2820458"/>
                    <a:gd name="connsiteX22" fmla="*/ 176589 w 3355195"/>
                    <a:gd name="connsiteY22" fmla="*/ 0 h 2820458"/>
                    <a:gd name="connsiteX23" fmla="*/ 3158984 w 3355195"/>
                    <a:gd name="connsiteY23" fmla="*/ 0 h 2820458"/>
                    <a:gd name="connsiteX24" fmla="*/ 3355195 w 3355195"/>
                    <a:gd name="connsiteY24" fmla="*/ 194633 h 2820458"/>
                    <a:gd name="connsiteX25" fmla="*/ 3355195 w 3355195"/>
                    <a:gd name="connsiteY25" fmla="*/ 1924709 h 2820458"/>
                    <a:gd name="connsiteX26" fmla="*/ 3158984 w 3355195"/>
                    <a:gd name="connsiteY26" fmla="*/ 2140967 h 2820458"/>
                    <a:gd name="connsiteX27" fmla="*/ 2174561 w 3355195"/>
                    <a:gd name="connsiteY27" fmla="*/ 2140967 h 2820458"/>
                    <a:gd name="connsiteX28" fmla="*/ 2039591 w 3355195"/>
                    <a:gd name="connsiteY28" fmla="*/ 2140967 h 2820458"/>
                    <a:gd name="connsiteX29" fmla="*/ 2039591 w 3355195"/>
                    <a:gd name="connsiteY29" fmla="*/ 2271804 h 2820458"/>
                    <a:gd name="connsiteX30" fmla="*/ 2039591 w 3355195"/>
                    <a:gd name="connsiteY30" fmla="*/ 2358036 h 2820458"/>
                    <a:gd name="connsiteX31" fmla="*/ 2471820 w 3355195"/>
                    <a:gd name="connsiteY31" fmla="*/ 2358036 h 2820458"/>
                    <a:gd name="connsiteX32" fmla="*/ 2628504 w 3355195"/>
                    <a:gd name="connsiteY32" fmla="*/ 2575106 h 2820458"/>
                    <a:gd name="connsiteX33" fmla="*/ 726686 w 3355195"/>
                    <a:gd name="connsiteY33" fmla="*/ 2575106 h 2820458"/>
                    <a:gd name="connsiteX34" fmla="*/ 883370 w 3355195"/>
                    <a:gd name="connsiteY34" fmla="*/ 2358036 h 2820458"/>
                    <a:gd name="connsiteX35" fmla="*/ 1296692 w 3355195"/>
                    <a:gd name="connsiteY35" fmla="*/ 2358036 h 2820458"/>
                    <a:gd name="connsiteX36" fmla="*/ 1296692 w 3355195"/>
                    <a:gd name="connsiteY36" fmla="*/ 2271804 h 2820458"/>
                    <a:gd name="connsiteX37" fmla="*/ 1296692 w 3355195"/>
                    <a:gd name="connsiteY37" fmla="*/ 2140967 h 2820458"/>
                    <a:gd name="connsiteX38" fmla="*/ 1145721 w 3355195"/>
                    <a:gd name="connsiteY38" fmla="*/ 2140967 h 2820458"/>
                    <a:gd name="connsiteX39" fmla="*/ 176589 w 3355195"/>
                    <a:gd name="connsiteY39" fmla="*/ 2140967 h 2820458"/>
                    <a:gd name="connsiteX40" fmla="*/ 0 w 3355195"/>
                    <a:gd name="connsiteY40" fmla="*/ 1924709 h 2820458"/>
                    <a:gd name="connsiteX41" fmla="*/ 0 w 3355195"/>
                    <a:gd name="connsiteY41" fmla="*/ 194633 h 2820458"/>
                    <a:gd name="connsiteX42" fmla="*/ 176589 w 3355195"/>
                    <a:gd name="connsiteY42" fmla="*/ 0 h 2820458"/>
                    <a:gd name="connsiteX0" fmla="*/ 743684 w 3355195"/>
                    <a:gd name="connsiteY0" fmla="*/ 2632120 h 2820458"/>
                    <a:gd name="connsiteX1" fmla="*/ 2904053 w 3355195"/>
                    <a:gd name="connsiteY1" fmla="*/ 2812993 h 2820458"/>
                    <a:gd name="connsiteX2" fmla="*/ 2474610 w 3355195"/>
                    <a:gd name="connsiteY2" fmla="*/ 2820458 h 2820458"/>
                    <a:gd name="connsiteX3" fmla="*/ 758188 w 3355195"/>
                    <a:gd name="connsiteY3" fmla="*/ 2613857 h 2820458"/>
                    <a:gd name="connsiteX4" fmla="*/ 743684 w 3355195"/>
                    <a:gd name="connsiteY4" fmla="*/ 2632120 h 2820458"/>
                    <a:gd name="connsiteX5" fmla="*/ 726686 w 3355195"/>
                    <a:gd name="connsiteY5" fmla="*/ 2575107 h 2820458"/>
                    <a:gd name="connsiteX6" fmla="*/ 2628504 w 3355195"/>
                    <a:gd name="connsiteY6" fmla="*/ 2575107 h 2820458"/>
                    <a:gd name="connsiteX7" fmla="*/ 2628504 w 3355195"/>
                    <a:gd name="connsiteY7" fmla="*/ 2640526 h 2820458"/>
                    <a:gd name="connsiteX8" fmla="*/ 726686 w 3355195"/>
                    <a:gd name="connsiteY8" fmla="*/ 2640526 h 2820458"/>
                    <a:gd name="connsiteX9" fmla="*/ 726686 w 3355195"/>
                    <a:gd name="connsiteY9" fmla="*/ 2575107 h 2820458"/>
                    <a:gd name="connsiteX10" fmla="*/ 178296 w 3355195"/>
                    <a:gd name="connsiteY10" fmla="*/ 196255 h 2820458"/>
                    <a:gd name="connsiteX11" fmla="*/ 178296 w 3355195"/>
                    <a:gd name="connsiteY11" fmla="*/ 1926870 h 2820458"/>
                    <a:gd name="connsiteX12" fmla="*/ 1296692 w 3355195"/>
                    <a:gd name="connsiteY12" fmla="*/ 1926870 h 2820458"/>
                    <a:gd name="connsiteX13" fmla="*/ 2039591 w 3355195"/>
                    <a:gd name="connsiteY13" fmla="*/ 1926870 h 2820458"/>
                    <a:gd name="connsiteX14" fmla="*/ 3198511 w 3355195"/>
                    <a:gd name="connsiteY14" fmla="*/ 1926870 h 2820458"/>
                    <a:gd name="connsiteX15" fmla="*/ 3198511 w 3355195"/>
                    <a:gd name="connsiteY15" fmla="*/ 196255 h 2820458"/>
                    <a:gd name="connsiteX16" fmla="*/ 178296 w 3355195"/>
                    <a:gd name="connsiteY16" fmla="*/ 196255 h 2820458"/>
                    <a:gd name="connsiteX17" fmla="*/ 1677597 w 3355195"/>
                    <a:gd name="connsiteY17" fmla="*/ 44602 h 2820458"/>
                    <a:gd name="connsiteX18" fmla="*/ 1628971 w 3355195"/>
                    <a:gd name="connsiteY18" fmla="*/ 87720 h 2820458"/>
                    <a:gd name="connsiteX19" fmla="*/ 1677597 w 3355195"/>
                    <a:gd name="connsiteY19" fmla="*/ 130837 h 2820458"/>
                    <a:gd name="connsiteX20" fmla="*/ 1726223 w 3355195"/>
                    <a:gd name="connsiteY20" fmla="*/ 87720 h 2820458"/>
                    <a:gd name="connsiteX21" fmla="*/ 1677597 w 3355195"/>
                    <a:gd name="connsiteY21" fmla="*/ 44602 h 2820458"/>
                    <a:gd name="connsiteX22" fmla="*/ 176589 w 3355195"/>
                    <a:gd name="connsiteY22" fmla="*/ 0 h 2820458"/>
                    <a:gd name="connsiteX23" fmla="*/ 3158984 w 3355195"/>
                    <a:gd name="connsiteY23" fmla="*/ 0 h 2820458"/>
                    <a:gd name="connsiteX24" fmla="*/ 3355195 w 3355195"/>
                    <a:gd name="connsiteY24" fmla="*/ 194633 h 2820458"/>
                    <a:gd name="connsiteX25" fmla="*/ 3355195 w 3355195"/>
                    <a:gd name="connsiteY25" fmla="*/ 1924709 h 2820458"/>
                    <a:gd name="connsiteX26" fmla="*/ 3158984 w 3355195"/>
                    <a:gd name="connsiteY26" fmla="*/ 2140967 h 2820458"/>
                    <a:gd name="connsiteX27" fmla="*/ 2174561 w 3355195"/>
                    <a:gd name="connsiteY27" fmla="*/ 2140967 h 2820458"/>
                    <a:gd name="connsiteX28" fmla="*/ 2039591 w 3355195"/>
                    <a:gd name="connsiteY28" fmla="*/ 2140967 h 2820458"/>
                    <a:gd name="connsiteX29" fmla="*/ 2039591 w 3355195"/>
                    <a:gd name="connsiteY29" fmla="*/ 2271804 h 2820458"/>
                    <a:gd name="connsiteX30" fmla="*/ 2039591 w 3355195"/>
                    <a:gd name="connsiteY30" fmla="*/ 2358036 h 2820458"/>
                    <a:gd name="connsiteX31" fmla="*/ 2471820 w 3355195"/>
                    <a:gd name="connsiteY31" fmla="*/ 2358036 h 2820458"/>
                    <a:gd name="connsiteX32" fmla="*/ 2628504 w 3355195"/>
                    <a:gd name="connsiteY32" fmla="*/ 2575106 h 2820458"/>
                    <a:gd name="connsiteX33" fmla="*/ 726686 w 3355195"/>
                    <a:gd name="connsiteY33" fmla="*/ 2575106 h 2820458"/>
                    <a:gd name="connsiteX34" fmla="*/ 883370 w 3355195"/>
                    <a:gd name="connsiteY34" fmla="*/ 2358036 h 2820458"/>
                    <a:gd name="connsiteX35" fmla="*/ 1296692 w 3355195"/>
                    <a:gd name="connsiteY35" fmla="*/ 2358036 h 2820458"/>
                    <a:gd name="connsiteX36" fmla="*/ 1296692 w 3355195"/>
                    <a:gd name="connsiteY36" fmla="*/ 2271804 h 2820458"/>
                    <a:gd name="connsiteX37" fmla="*/ 1296692 w 3355195"/>
                    <a:gd name="connsiteY37" fmla="*/ 2140967 h 2820458"/>
                    <a:gd name="connsiteX38" fmla="*/ 1145721 w 3355195"/>
                    <a:gd name="connsiteY38" fmla="*/ 2140967 h 2820458"/>
                    <a:gd name="connsiteX39" fmla="*/ 176589 w 3355195"/>
                    <a:gd name="connsiteY39" fmla="*/ 2140967 h 2820458"/>
                    <a:gd name="connsiteX40" fmla="*/ 0 w 3355195"/>
                    <a:gd name="connsiteY40" fmla="*/ 1924709 h 2820458"/>
                    <a:gd name="connsiteX41" fmla="*/ 0 w 3355195"/>
                    <a:gd name="connsiteY41" fmla="*/ 194633 h 2820458"/>
                    <a:gd name="connsiteX42" fmla="*/ 176589 w 3355195"/>
                    <a:gd name="connsiteY42" fmla="*/ 0 h 2820458"/>
                    <a:gd name="connsiteX0" fmla="*/ 743684 w 3355195"/>
                    <a:gd name="connsiteY0" fmla="*/ 2632120 h 2820458"/>
                    <a:gd name="connsiteX1" fmla="*/ 2610913 w 3355195"/>
                    <a:gd name="connsiteY1" fmla="*/ 2600935 h 2820458"/>
                    <a:gd name="connsiteX2" fmla="*/ 2474610 w 3355195"/>
                    <a:gd name="connsiteY2" fmla="*/ 2820458 h 2820458"/>
                    <a:gd name="connsiteX3" fmla="*/ 758188 w 3355195"/>
                    <a:gd name="connsiteY3" fmla="*/ 2613857 h 2820458"/>
                    <a:gd name="connsiteX4" fmla="*/ 743684 w 3355195"/>
                    <a:gd name="connsiteY4" fmla="*/ 2632120 h 2820458"/>
                    <a:gd name="connsiteX5" fmla="*/ 726686 w 3355195"/>
                    <a:gd name="connsiteY5" fmla="*/ 2575107 h 2820458"/>
                    <a:gd name="connsiteX6" fmla="*/ 2628504 w 3355195"/>
                    <a:gd name="connsiteY6" fmla="*/ 2575107 h 2820458"/>
                    <a:gd name="connsiteX7" fmla="*/ 2628504 w 3355195"/>
                    <a:gd name="connsiteY7" fmla="*/ 2640526 h 2820458"/>
                    <a:gd name="connsiteX8" fmla="*/ 726686 w 3355195"/>
                    <a:gd name="connsiteY8" fmla="*/ 2640526 h 2820458"/>
                    <a:gd name="connsiteX9" fmla="*/ 726686 w 3355195"/>
                    <a:gd name="connsiteY9" fmla="*/ 2575107 h 2820458"/>
                    <a:gd name="connsiteX10" fmla="*/ 178296 w 3355195"/>
                    <a:gd name="connsiteY10" fmla="*/ 196255 h 2820458"/>
                    <a:gd name="connsiteX11" fmla="*/ 178296 w 3355195"/>
                    <a:gd name="connsiteY11" fmla="*/ 1926870 h 2820458"/>
                    <a:gd name="connsiteX12" fmla="*/ 1296692 w 3355195"/>
                    <a:gd name="connsiteY12" fmla="*/ 1926870 h 2820458"/>
                    <a:gd name="connsiteX13" fmla="*/ 2039591 w 3355195"/>
                    <a:gd name="connsiteY13" fmla="*/ 1926870 h 2820458"/>
                    <a:gd name="connsiteX14" fmla="*/ 3198511 w 3355195"/>
                    <a:gd name="connsiteY14" fmla="*/ 1926870 h 2820458"/>
                    <a:gd name="connsiteX15" fmla="*/ 3198511 w 3355195"/>
                    <a:gd name="connsiteY15" fmla="*/ 196255 h 2820458"/>
                    <a:gd name="connsiteX16" fmla="*/ 178296 w 3355195"/>
                    <a:gd name="connsiteY16" fmla="*/ 196255 h 2820458"/>
                    <a:gd name="connsiteX17" fmla="*/ 1677597 w 3355195"/>
                    <a:gd name="connsiteY17" fmla="*/ 44602 h 2820458"/>
                    <a:gd name="connsiteX18" fmla="*/ 1628971 w 3355195"/>
                    <a:gd name="connsiteY18" fmla="*/ 87720 h 2820458"/>
                    <a:gd name="connsiteX19" fmla="*/ 1677597 w 3355195"/>
                    <a:gd name="connsiteY19" fmla="*/ 130837 h 2820458"/>
                    <a:gd name="connsiteX20" fmla="*/ 1726223 w 3355195"/>
                    <a:gd name="connsiteY20" fmla="*/ 87720 h 2820458"/>
                    <a:gd name="connsiteX21" fmla="*/ 1677597 w 3355195"/>
                    <a:gd name="connsiteY21" fmla="*/ 44602 h 2820458"/>
                    <a:gd name="connsiteX22" fmla="*/ 176589 w 3355195"/>
                    <a:gd name="connsiteY22" fmla="*/ 0 h 2820458"/>
                    <a:gd name="connsiteX23" fmla="*/ 3158984 w 3355195"/>
                    <a:gd name="connsiteY23" fmla="*/ 0 h 2820458"/>
                    <a:gd name="connsiteX24" fmla="*/ 3355195 w 3355195"/>
                    <a:gd name="connsiteY24" fmla="*/ 194633 h 2820458"/>
                    <a:gd name="connsiteX25" fmla="*/ 3355195 w 3355195"/>
                    <a:gd name="connsiteY25" fmla="*/ 1924709 h 2820458"/>
                    <a:gd name="connsiteX26" fmla="*/ 3158984 w 3355195"/>
                    <a:gd name="connsiteY26" fmla="*/ 2140967 h 2820458"/>
                    <a:gd name="connsiteX27" fmla="*/ 2174561 w 3355195"/>
                    <a:gd name="connsiteY27" fmla="*/ 2140967 h 2820458"/>
                    <a:gd name="connsiteX28" fmla="*/ 2039591 w 3355195"/>
                    <a:gd name="connsiteY28" fmla="*/ 2140967 h 2820458"/>
                    <a:gd name="connsiteX29" fmla="*/ 2039591 w 3355195"/>
                    <a:gd name="connsiteY29" fmla="*/ 2271804 h 2820458"/>
                    <a:gd name="connsiteX30" fmla="*/ 2039591 w 3355195"/>
                    <a:gd name="connsiteY30" fmla="*/ 2358036 h 2820458"/>
                    <a:gd name="connsiteX31" fmla="*/ 2471820 w 3355195"/>
                    <a:gd name="connsiteY31" fmla="*/ 2358036 h 2820458"/>
                    <a:gd name="connsiteX32" fmla="*/ 2628504 w 3355195"/>
                    <a:gd name="connsiteY32" fmla="*/ 2575106 h 2820458"/>
                    <a:gd name="connsiteX33" fmla="*/ 726686 w 3355195"/>
                    <a:gd name="connsiteY33" fmla="*/ 2575106 h 2820458"/>
                    <a:gd name="connsiteX34" fmla="*/ 883370 w 3355195"/>
                    <a:gd name="connsiteY34" fmla="*/ 2358036 h 2820458"/>
                    <a:gd name="connsiteX35" fmla="*/ 1296692 w 3355195"/>
                    <a:gd name="connsiteY35" fmla="*/ 2358036 h 2820458"/>
                    <a:gd name="connsiteX36" fmla="*/ 1296692 w 3355195"/>
                    <a:gd name="connsiteY36" fmla="*/ 2271804 h 2820458"/>
                    <a:gd name="connsiteX37" fmla="*/ 1296692 w 3355195"/>
                    <a:gd name="connsiteY37" fmla="*/ 2140967 h 2820458"/>
                    <a:gd name="connsiteX38" fmla="*/ 1145721 w 3355195"/>
                    <a:gd name="connsiteY38" fmla="*/ 2140967 h 2820458"/>
                    <a:gd name="connsiteX39" fmla="*/ 176589 w 3355195"/>
                    <a:gd name="connsiteY39" fmla="*/ 2140967 h 2820458"/>
                    <a:gd name="connsiteX40" fmla="*/ 0 w 3355195"/>
                    <a:gd name="connsiteY40" fmla="*/ 1924709 h 2820458"/>
                    <a:gd name="connsiteX41" fmla="*/ 0 w 3355195"/>
                    <a:gd name="connsiteY41" fmla="*/ 194633 h 2820458"/>
                    <a:gd name="connsiteX42" fmla="*/ 176589 w 3355195"/>
                    <a:gd name="connsiteY42" fmla="*/ 0 h 2820458"/>
                    <a:gd name="connsiteX0" fmla="*/ 743684 w 3355195"/>
                    <a:gd name="connsiteY0" fmla="*/ 2632120 h 2640526"/>
                    <a:gd name="connsiteX1" fmla="*/ 2610913 w 3355195"/>
                    <a:gd name="connsiteY1" fmla="*/ 2600935 h 2640526"/>
                    <a:gd name="connsiteX2" fmla="*/ 2044255 w 3355195"/>
                    <a:gd name="connsiteY2" fmla="*/ 2602162 h 2640526"/>
                    <a:gd name="connsiteX3" fmla="*/ 758188 w 3355195"/>
                    <a:gd name="connsiteY3" fmla="*/ 2613857 h 2640526"/>
                    <a:gd name="connsiteX4" fmla="*/ 743684 w 3355195"/>
                    <a:gd name="connsiteY4" fmla="*/ 2632120 h 2640526"/>
                    <a:gd name="connsiteX5" fmla="*/ 726686 w 3355195"/>
                    <a:gd name="connsiteY5" fmla="*/ 2575107 h 2640526"/>
                    <a:gd name="connsiteX6" fmla="*/ 2628504 w 3355195"/>
                    <a:gd name="connsiteY6" fmla="*/ 2575107 h 2640526"/>
                    <a:gd name="connsiteX7" fmla="*/ 2628504 w 3355195"/>
                    <a:gd name="connsiteY7" fmla="*/ 2640526 h 2640526"/>
                    <a:gd name="connsiteX8" fmla="*/ 726686 w 3355195"/>
                    <a:gd name="connsiteY8" fmla="*/ 2640526 h 2640526"/>
                    <a:gd name="connsiteX9" fmla="*/ 726686 w 3355195"/>
                    <a:gd name="connsiteY9" fmla="*/ 2575107 h 2640526"/>
                    <a:gd name="connsiteX10" fmla="*/ 178296 w 3355195"/>
                    <a:gd name="connsiteY10" fmla="*/ 196255 h 2640526"/>
                    <a:gd name="connsiteX11" fmla="*/ 178296 w 3355195"/>
                    <a:gd name="connsiteY11" fmla="*/ 1926870 h 2640526"/>
                    <a:gd name="connsiteX12" fmla="*/ 1296692 w 3355195"/>
                    <a:gd name="connsiteY12" fmla="*/ 1926870 h 2640526"/>
                    <a:gd name="connsiteX13" fmla="*/ 2039591 w 3355195"/>
                    <a:gd name="connsiteY13" fmla="*/ 1926870 h 2640526"/>
                    <a:gd name="connsiteX14" fmla="*/ 3198511 w 3355195"/>
                    <a:gd name="connsiteY14" fmla="*/ 1926870 h 2640526"/>
                    <a:gd name="connsiteX15" fmla="*/ 3198511 w 3355195"/>
                    <a:gd name="connsiteY15" fmla="*/ 196255 h 2640526"/>
                    <a:gd name="connsiteX16" fmla="*/ 178296 w 3355195"/>
                    <a:gd name="connsiteY16" fmla="*/ 196255 h 2640526"/>
                    <a:gd name="connsiteX17" fmla="*/ 1677597 w 3355195"/>
                    <a:gd name="connsiteY17" fmla="*/ 44602 h 2640526"/>
                    <a:gd name="connsiteX18" fmla="*/ 1628971 w 3355195"/>
                    <a:gd name="connsiteY18" fmla="*/ 87720 h 2640526"/>
                    <a:gd name="connsiteX19" fmla="*/ 1677597 w 3355195"/>
                    <a:gd name="connsiteY19" fmla="*/ 130837 h 2640526"/>
                    <a:gd name="connsiteX20" fmla="*/ 1726223 w 3355195"/>
                    <a:gd name="connsiteY20" fmla="*/ 87720 h 2640526"/>
                    <a:gd name="connsiteX21" fmla="*/ 1677597 w 3355195"/>
                    <a:gd name="connsiteY21" fmla="*/ 44602 h 2640526"/>
                    <a:gd name="connsiteX22" fmla="*/ 176589 w 3355195"/>
                    <a:gd name="connsiteY22" fmla="*/ 0 h 2640526"/>
                    <a:gd name="connsiteX23" fmla="*/ 3158984 w 3355195"/>
                    <a:gd name="connsiteY23" fmla="*/ 0 h 2640526"/>
                    <a:gd name="connsiteX24" fmla="*/ 3355195 w 3355195"/>
                    <a:gd name="connsiteY24" fmla="*/ 194633 h 2640526"/>
                    <a:gd name="connsiteX25" fmla="*/ 3355195 w 3355195"/>
                    <a:gd name="connsiteY25" fmla="*/ 1924709 h 2640526"/>
                    <a:gd name="connsiteX26" fmla="*/ 3158984 w 3355195"/>
                    <a:gd name="connsiteY26" fmla="*/ 2140967 h 2640526"/>
                    <a:gd name="connsiteX27" fmla="*/ 2174561 w 3355195"/>
                    <a:gd name="connsiteY27" fmla="*/ 2140967 h 2640526"/>
                    <a:gd name="connsiteX28" fmla="*/ 2039591 w 3355195"/>
                    <a:gd name="connsiteY28" fmla="*/ 2140967 h 2640526"/>
                    <a:gd name="connsiteX29" fmla="*/ 2039591 w 3355195"/>
                    <a:gd name="connsiteY29" fmla="*/ 2271804 h 2640526"/>
                    <a:gd name="connsiteX30" fmla="*/ 2039591 w 3355195"/>
                    <a:gd name="connsiteY30" fmla="*/ 2358036 h 2640526"/>
                    <a:gd name="connsiteX31" fmla="*/ 2471820 w 3355195"/>
                    <a:gd name="connsiteY31" fmla="*/ 2358036 h 2640526"/>
                    <a:gd name="connsiteX32" fmla="*/ 2628504 w 3355195"/>
                    <a:gd name="connsiteY32" fmla="*/ 2575106 h 2640526"/>
                    <a:gd name="connsiteX33" fmla="*/ 726686 w 3355195"/>
                    <a:gd name="connsiteY33" fmla="*/ 2575106 h 2640526"/>
                    <a:gd name="connsiteX34" fmla="*/ 883370 w 3355195"/>
                    <a:gd name="connsiteY34" fmla="*/ 2358036 h 2640526"/>
                    <a:gd name="connsiteX35" fmla="*/ 1296692 w 3355195"/>
                    <a:gd name="connsiteY35" fmla="*/ 2358036 h 2640526"/>
                    <a:gd name="connsiteX36" fmla="*/ 1296692 w 3355195"/>
                    <a:gd name="connsiteY36" fmla="*/ 2271804 h 2640526"/>
                    <a:gd name="connsiteX37" fmla="*/ 1296692 w 3355195"/>
                    <a:gd name="connsiteY37" fmla="*/ 2140967 h 2640526"/>
                    <a:gd name="connsiteX38" fmla="*/ 1145721 w 3355195"/>
                    <a:gd name="connsiteY38" fmla="*/ 2140967 h 2640526"/>
                    <a:gd name="connsiteX39" fmla="*/ 176589 w 3355195"/>
                    <a:gd name="connsiteY39" fmla="*/ 2140967 h 2640526"/>
                    <a:gd name="connsiteX40" fmla="*/ 0 w 3355195"/>
                    <a:gd name="connsiteY40" fmla="*/ 1924709 h 2640526"/>
                    <a:gd name="connsiteX41" fmla="*/ 0 w 3355195"/>
                    <a:gd name="connsiteY41" fmla="*/ 194633 h 2640526"/>
                    <a:gd name="connsiteX42" fmla="*/ 176589 w 3355195"/>
                    <a:gd name="connsiteY42" fmla="*/ 0 h 2640526"/>
                    <a:gd name="connsiteX0" fmla="*/ 743684 w 3355195"/>
                    <a:gd name="connsiteY0" fmla="*/ 2632120 h 2640526"/>
                    <a:gd name="connsiteX1" fmla="*/ 2610913 w 3355195"/>
                    <a:gd name="connsiteY1" fmla="*/ 2600935 h 2640526"/>
                    <a:gd name="connsiteX2" fmla="*/ 2044255 w 3355195"/>
                    <a:gd name="connsiteY2" fmla="*/ 2602162 h 2640526"/>
                    <a:gd name="connsiteX3" fmla="*/ 758188 w 3355195"/>
                    <a:gd name="connsiteY3" fmla="*/ 2613857 h 2640526"/>
                    <a:gd name="connsiteX4" fmla="*/ 743684 w 3355195"/>
                    <a:gd name="connsiteY4" fmla="*/ 2632120 h 2640526"/>
                    <a:gd name="connsiteX5" fmla="*/ 726686 w 3355195"/>
                    <a:gd name="connsiteY5" fmla="*/ 2575107 h 2640526"/>
                    <a:gd name="connsiteX6" fmla="*/ 2628504 w 3355195"/>
                    <a:gd name="connsiteY6" fmla="*/ 2575107 h 2640526"/>
                    <a:gd name="connsiteX7" fmla="*/ 2397734 w 3355195"/>
                    <a:gd name="connsiteY7" fmla="*/ 2596867 h 2640526"/>
                    <a:gd name="connsiteX8" fmla="*/ 726686 w 3355195"/>
                    <a:gd name="connsiteY8" fmla="*/ 2640526 h 2640526"/>
                    <a:gd name="connsiteX9" fmla="*/ 726686 w 3355195"/>
                    <a:gd name="connsiteY9" fmla="*/ 2575107 h 2640526"/>
                    <a:gd name="connsiteX10" fmla="*/ 178296 w 3355195"/>
                    <a:gd name="connsiteY10" fmla="*/ 196255 h 2640526"/>
                    <a:gd name="connsiteX11" fmla="*/ 178296 w 3355195"/>
                    <a:gd name="connsiteY11" fmla="*/ 1926870 h 2640526"/>
                    <a:gd name="connsiteX12" fmla="*/ 1296692 w 3355195"/>
                    <a:gd name="connsiteY12" fmla="*/ 1926870 h 2640526"/>
                    <a:gd name="connsiteX13" fmla="*/ 2039591 w 3355195"/>
                    <a:gd name="connsiteY13" fmla="*/ 1926870 h 2640526"/>
                    <a:gd name="connsiteX14" fmla="*/ 3198511 w 3355195"/>
                    <a:gd name="connsiteY14" fmla="*/ 1926870 h 2640526"/>
                    <a:gd name="connsiteX15" fmla="*/ 3198511 w 3355195"/>
                    <a:gd name="connsiteY15" fmla="*/ 196255 h 2640526"/>
                    <a:gd name="connsiteX16" fmla="*/ 178296 w 3355195"/>
                    <a:gd name="connsiteY16" fmla="*/ 196255 h 2640526"/>
                    <a:gd name="connsiteX17" fmla="*/ 1677597 w 3355195"/>
                    <a:gd name="connsiteY17" fmla="*/ 44602 h 2640526"/>
                    <a:gd name="connsiteX18" fmla="*/ 1628971 w 3355195"/>
                    <a:gd name="connsiteY18" fmla="*/ 87720 h 2640526"/>
                    <a:gd name="connsiteX19" fmla="*/ 1677597 w 3355195"/>
                    <a:gd name="connsiteY19" fmla="*/ 130837 h 2640526"/>
                    <a:gd name="connsiteX20" fmla="*/ 1726223 w 3355195"/>
                    <a:gd name="connsiteY20" fmla="*/ 87720 h 2640526"/>
                    <a:gd name="connsiteX21" fmla="*/ 1677597 w 3355195"/>
                    <a:gd name="connsiteY21" fmla="*/ 44602 h 2640526"/>
                    <a:gd name="connsiteX22" fmla="*/ 176589 w 3355195"/>
                    <a:gd name="connsiteY22" fmla="*/ 0 h 2640526"/>
                    <a:gd name="connsiteX23" fmla="*/ 3158984 w 3355195"/>
                    <a:gd name="connsiteY23" fmla="*/ 0 h 2640526"/>
                    <a:gd name="connsiteX24" fmla="*/ 3355195 w 3355195"/>
                    <a:gd name="connsiteY24" fmla="*/ 194633 h 2640526"/>
                    <a:gd name="connsiteX25" fmla="*/ 3355195 w 3355195"/>
                    <a:gd name="connsiteY25" fmla="*/ 1924709 h 2640526"/>
                    <a:gd name="connsiteX26" fmla="*/ 3158984 w 3355195"/>
                    <a:gd name="connsiteY26" fmla="*/ 2140967 h 2640526"/>
                    <a:gd name="connsiteX27" fmla="*/ 2174561 w 3355195"/>
                    <a:gd name="connsiteY27" fmla="*/ 2140967 h 2640526"/>
                    <a:gd name="connsiteX28" fmla="*/ 2039591 w 3355195"/>
                    <a:gd name="connsiteY28" fmla="*/ 2140967 h 2640526"/>
                    <a:gd name="connsiteX29" fmla="*/ 2039591 w 3355195"/>
                    <a:gd name="connsiteY29" fmla="*/ 2271804 h 2640526"/>
                    <a:gd name="connsiteX30" fmla="*/ 2039591 w 3355195"/>
                    <a:gd name="connsiteY30" fmla="*/ 2358036 h 2640526"/>
                    <a:gd name="connsiteX31" fmla="*/ 2471820 w 3355195"/>
                    <a:gd name="connsiteY31" fmla="*/ 2358036 h 2640526"/>
                    <a:gd name="connsiteX32" fmla="*/ 2628504 w 3355195"/>
                    <a:gd name="connsiteY32" fmla="*/ 2575106 h 2640526"/>
                    <a:gd name="connsiteX33" fmla="*/ 726686 w 3355195"/>
                    <a:gd name="connsiteY33" fmla="*/ 2575106 h 2640526"/>
                    <a:gd name="connsiteX34" fmla="*/ 883370 w 3355195"/>
                    <a:gd name="connsiteY34" fmla="*/ 2358036 h 2640526"/>
                    <a:gd name="connsiteX35" fmla="*/ 1296692 w 3355195"/>
                    <a:gd name="connsiteY35" fmla="*/ 2358036 h 2640526"/>
                    <a:gd name="connsiteX36" fmla="*/ 1296692 w 3355195"/>
                    <a:gd name="connsiteY36" fmla="*/ 2271804 h 2640526"/>
                    <a:gd name="connsiteX37" fmla="*/ 1296692 w 3355195"/>
                    <a:gd name="connsiteY37" fmla="*/ 2140967 h 2640526"/>
                    <a:gd name="connsiteX38" fmla="*/ 1145721 w 3355195"/>
                    <a:gd name="connsiteY38" fmla="*/ 2140967 h 2640526"/>
                    <a:gd name="connsiteX39" fmla="*/ 176589 w 3355195"/>
                    <a:gd name="connsiteY39" fmla="*/ 2140967 h 2640526"/>
                    <a:gd name="connsiteX40" fmla="*/ 0 w 3355195"/>
                    <a:gd name="connsiteY40" fmla="*/ 1924709 h 2640526"/>
                    <a:gd name="connsiteX41" fmla="*/ 0 w 3355195"/>
                    <a:gd name="connsiteY41" fmla="*/ 194633 h 2640526"/>
                    <a:gd name="connsiteX42" fmla="*/ 176589 w 3355195"/>
                    <a:gd name="connsiteY42" fmla="*/ 0 h 2640526"/>
                    <a:gd name="connsiteX0" fmla="*/ 743684 w 3355195"/>
                    <a:gd name="connsiteY0" fmla="*/ 2632120 h 2632120"/>
                    <a:gd name="connsiteX1" fmla="*/ 2610913 w 3355195"/>
                    <a:gd name="connsiteY1" fmla="*/ 2600935 h 2632120"/>
                    <a:gd name="connsiteX2" fmla="*/ 2044255 w 3355195"/>
                    <a:gd name="connsiteY2" fmla="*/ 2602162 h 2632120"/>
                    <a:gd name="connsiteX3" fmla="*/ 758188 w 3355195"/>
                    <a:gd name="connsiteY3" fmla="*/ 2613857 h 2632120"/>
                    <a:gd name="connsiteX4" fmla="*/ 743684 w 3355195"/>
                    <a:gd name="connsiteY4" fmla="*/ 2632120 h 2632120"/>
                    <a:gd name="connsiteX5" fmla="*/ 726686 w 3355195"/>
                    <a:gd name="connsiteY5" fmla="*/ 2575107 h 2632120"/>
                    <a:gd name="connsiteX6" fmla="*/ 2628504 w 3355195"/>
                    <a:gd name="connsiteY6" fmla="*/ 2575107 h 2632120"/>
                    <a:gd name="connsiteX7" fmla="*/ 2397734 w 3355195"/>
                    <a:gd name="connsiteY7" fmla="*/ 2596867 h 2632120"/>
                    <a:gd name="connsiteX8" fmla="*/ 857664 w 3355195"/>
                    <a:gd name="connsiteY8" fmla="*/ 2596867 h 2632120"/>
                    <a:gd name="connsiteX9" fmla="*/ 726686 w 3355195"/>
                    <a:gd name="connsiteY9" fmla="*/ 2575107 h 2632120"/>
                    <a:gd name="connsiteX10" fmla="*/ 178296 w 3355195"/>
                    <a:gd name="connsiteY10" fmla="*/ 196255 h 2632120"/>
                    <a:gd name="connsiteX11" fmla="*/ 178296 w 3355195"/>
                    <a:gd name="connsiteY11" fmla="*/ 1926870 h 2632120"/>
                    <a:gd name="connsiteX12" fmla="*/ 1296692 w 3355195"/>
                    <a:gd name="connsiteY12" fmla="*/ 1926870 h 2632120"/>
                    <a:gd name="connsiteX13" fmla="*/ 2039591 w 3355195"/>
                    <a:gd name="connsiteY13" fmla="*/ 1926870 h 2632120"/>
                    <a:gd name="connsiteX14" fmla="*/ 3198511 w 3355195"/>
                    <a:gd name="connsiteY14" fmla="*/ 1926870 h 2632120"/>
                    <a:gd name="connsiteX15" fmla="*/ 3198511 w 3355195"/>
                    <a:gd name="connsiteY15" fmla="*/ 196255 h 2632120"/>
                    <a:gd name="connsiteX16" fmla="*/ 178296 w 3355195"/>
                    <a:gd name="connsiteY16" fmla="*/ 196255 h 2632120"/>
                    <a:gd name="connsiteX17" fmla="*/ 1677597 w 3355195"/>
                    <a:gd name="connsiteY17" fmla="*/ 44602 h 2632120"/>
                    <a:gd name="connsiteX18" fmla="*/ 1628971 w 3355195"/>
                    <a:gd name="connsiteY18" fmla="*/ 87720 h 2632120"/>
                    <a:gd name="connsiteX19" fmla="*/ 1677597 w 3355195"/>
                    <a:gd name="connsiteY19" fmla="*/ 130837 h 2632120"/>
                    <a:gd name="connsiteX20" fmla="*/ 1726223 w 3355195"/>
                    <a:gd name="connsiteY20" fmla="*/ 87720 h 2632120"/>
                    <a:gd name="connsiteX21" fmla="*/ 1677597 w 3355195"/>
                    <a:gd name="connsiteY21" fmla="*/ 44602 h 2632120"/>
                    <a:gd name="connsiteX22" fmla="*/ 176589 w 3355195"/>
                    <a:gd name="connsiteY22" fmla="*/ 0 h 2632120"/>
                    <a:gd name="connsiteX23" fmla="*/ 3158984 w 3355195"/>
                    <a:gd name="connsiteY23" fmla="*/ 0 h 2632120"/>
                    <a:gd name="connsiteX24" fmla="*/ 3355195 w 3355195"/>
                    <a:gd name="connsiteY24" fmla="*/ 194633 h 2632120"/>
                    <a:gd name="connsiteX25" fmla="*/ 3355195 w 3355195"/>
                    <a:gd name="connsiteY25" fmla="*/ 1924709 h 2632120"/>
                    <a:gd name="connsiteX26" fmla="*/ 3158984 w 3355195"/>
                    <a:gd name="connsiteY26" fmla="*/ 2140967 h 2632120"/>
                    <a:gd name="connsiteX27" fmla="*/ 2174561 w 3355195"/>
                    <a:gd name="connsiteY27" fmla="*/ 2140967 h 2632120"/>
                    <a:gd name="connsiteX28" fmla="*/ 2039591 w 3355195"/>
                    <a:gd name="connsiteY28" fmla="*/ 2140967 h 2632120"/>
                    <a:gd name="connsiteX29" fmla="*/ 2039591 w 3355195"/>
                    <a:gd name="connsiteY29" fmla="*/ 2271804 h 2632120"/>
                    <a:gd name="connsiteX30" fmla="*/ 2039591 w 3355195"/>
                    <a:gd name="connsiteY30" fmla="*/ 2358036 h 2632120"/>
                    <a:gd name="connsiteX31" fmla="*/ 2471820 w 3355195"/>
                    <a:gd name="connsiteY31" fmla="*/ 2358036 h 2632120"/>
                    <a:gd name="connsiteX32" fmla="*/ 2628504 w 3355195"/>
                    <a:gd name="connsiteY32" fmla="*/ 2575106 h 2632120"/>
                    <a:gd name="connsiteX33" fmla="*/ 726686 w 3355195"/>
                    <a:gd name="connsiteY33" fmla="*/ 2575106 h 2632120"/>
                    <a:gd name="connsiteX34" fmla="*/ 883370 w 3355195"/>
                    <a:gd name="connsiteY34" fmla="*/ 2358036 h 2632120"/>
                    <a:gd name="connsiteX35" fmla="*/ 1296692 w 3355195"/>
                    <a:gd name="connsiteY35" fmla="*/ 2358036 h 2632120"/>
                    <a:gd name="connsiteX36" fmla="*/ 1296692 w 3355195"/>
                    <a:gd name="connsiteY36" fmla="*/ 2271804 h 2632120"/>
                    <a:gd name="connsiteX37" fmla="*/ 1296692 w 3355195"/>
                    <a:gd name="connsiteY37" fmla="*/ 2140967 h 2632120"/>
                    <a:gd name="connsiteX38" fmla="*/ 1145721 w 3355195"/>
                    <a:gd name="connsiteY38" fmla="*/ 2140967 h 2632120"/>
                    <a:gd name="connsiteX39" fmla="*/ 176589 w 3355195"/>
                    <a:gd name="connsiteY39" fmla="*/ 2140967 h 2632120"/>
                    <a:gd name="connsiteX40" fmla="*/ 0 w 3355195"/>
                    <a:gd name="connsiteY40" fmla="*/ 1924709 h 2632120"/>
                    <a:gd name="connsiteX41" fmla="*/ 0 w 3355195"/>
                    <a:gd name="connsiteY41" fmla="*/ 194633 h 2632120"/>
                    <a:gd name="connsiteX42" fmla="*/ 176589 w 3355195"/>
                    <a:gd name="connsiteY42" fmla="*/ 0 h 2632120"/>
                    <a:gd name="connsiteX0" fmla="*/ 880898 w 3355195"/>
                    <a:gd name="connsiteY0" fmla="*/ 2582224 h 2613857"/>
                    <a:gd name="connsiteX1" fmla="*/ 2610913 w 3355195"/>
                    <a:gd name="connsiteY1" fmla="*/ 2600935 h 2613857"/>
                    <a:gd name="connsiteX2" fmla="*/ 2044255 w 3355195"/>
                    <a:gd name="connsiteY2" fmla="*/ 2602162 h 2613857"/>
                    <a:gd name="connsiteX3" fmla="*/ 758188 w 3355195"/>
                    <a:gd name="connsiteY3" fmla="*/ 2613857 h 2613857"/>
                    <a:gd name="connsiteX4" fmla="*/ 880898 w 3355195"/>
                    <a:gd name="connsiteY4" fmla="*/ 2582224 h 2613857"/>
                    <a:gd name="connsiteX5" fmla="*/ 726686 w 3355195"/>
                    <a:gd name="connsiteY5" fmla="*/ 2575107 h 2613857"/>
                    <a:gd name="connsiteX6" fmla="*/ 2628504 w 3355195"/>
                    <a:gd name="connsiteY6" fmla="*/ 2575107 h 2613857"/>
                    <a:gd name="connsiteX7" fmla="*/ 2397734 w 3355195"/>
                    <a:gd name="connsiteY7" fmla="*/ 2596867 h 2613857"/>
                    <a:gd name="connsiteX8" fmla="*/ 857664 w 3355195"/>
                    <a:gd name="connsiteY8" fmla="*/ 2596867 h 2613857"/>
                    <a:gd name="connsiteX9" fmla="*/ 726686 w 3355195"/>
                    <a:gd name="connsiteY9" fmla="*/ 2575107 h 2613857"/>
                    <a:gd name="connsiteX10" fmla="*/ 178296 w 3355195"/>
                    <a:gd name="connsiteY10" fmla="*/ 196255 h 2613857"/>
                    <a:gd name="connsiteX11" fmla="*/ 178296 w 3355195"/>
                    <a:gd name="connsiteY11" fmla="*/ 1926870 h 2613857"/>
                    <a:gd name="connsiteX12" fmla="*/ 1296692 w 3355195"/>
                    <a:gd name="connsiteY12" fmla="*/ 1926870 h 2613857"/>
                    <a:gd name="connsiteX13" fmla="*/ 2039591 w 3355195"/>
                    <a:gd name="connsiteY13" fmla="*/ 1926870 h 2613857"/>
                    <a:gd name="connsiteX14" fmla="*/ 3198511 w 3355195"/>
                    <a:gd name="connsiteY14" fmla="*/ 1926870 h 2613857"/>
                    <a:gd name="connsiteX15" fmla="*/ 3198511 w 3355195"/>
                    <a:gd name="connsiteY15" fmla="*/ 196255 h 2613857"/>
                    <a:gd name="connsiteX16" fmla="*/ 178296 w 3355195"/>
                    <a:gd name="connsiteY16" fmla="*/ 196255 h 2613857"/>
                    <a:gd name="connsiteX17" fmla="*/ 1677597 w 3355195"/>
                    <a:gd name="connsiteY17" fmla="*/ 44602 h 2613857"/>
                    <a:gd name="connsiteX18" fmla="*/ 1628971 w 3355195"/>
                    <a:gd name="connsiteY18" fmla="*/ 87720 h 2613857"/>
                    <a:gd name="connsiteX19" fmla="*/ 1677597 w 3355195"/>
                    <a:gd name="connsiteY19" fmla="*/ 130837 h 2613857"/>
                    <a:gd name="connsiteX20" fmla="*/ 1726223 w 3355195"/>
                    <a:gd name="connsiteY20" fmla="*/ 87720 h 2613857"/>
                    <a:gd name="connsiteX21" fmla="*/ 1677597 w 3355195"/>
                    <a:gd name="connsiteY21" fmla="*/ 44602 h 2613857"/>
                    <a:gd name="connsiteX22" fmla="*/ 176589 w 3355195"/>
                    <a:gd name="connsiteY22" fmla="*/ 0 h 2613857"/>
                    <a:gd name="connsiteX23" fmla="*/ 3158984 w 3355195"/>
                    <a:gd name="connsiteY23" fmla="*/ 0 h 2613857"/>
                    <a:gd name="connsiteX24" fmla="*/ 3355195 w 3355195"/>
                    <a:gd name="connsiteY24" fmla="*/ 194633 h 2613857"/>
                    <a:gd name="connsiteX25" fmla="*/ 3355195 w 3355195"/>
                    <a:gd name="connsiteY25" fmla="*/ 1924709 h 2613857"/>
                    <a:gd name="connsiteX26" fmla="*/ 3158984 w 3355195"/>
                    <a:gd name="connsiteY26" fmla="*/ 2140967 h 2613857"/>
                    <a:gd name="connsiteX27" fmla="*/ 2174561 w 3355195"/>
                    <a:gd name="connsiteY27" fmla="*/ 2140967 h 2613857"/>
                    <a:gd name="connsiteX28" fmla="*/ 2039591 w 3355195"/>
                    <a:gd name="connsiteY28" fmla="*/ 2140967 h 2613857"/>
                    <a:gd name="connsiteX29" fmla="*/ 2039591 w 3355195"/>
                    <a:gd name="connsiteY29" fmla="*/ 2271804 h 2613857"/>
                    <a:gd name="connsiteX30" fmla="*/ 2039591 w 3355195"/>
                    <a:gd name="connsiteY30" fmla="*/ 2358036 h 2613857"/>
                    <a:gd name="connsiteX31" fmla="*/ 2471820 w 3355195"/>
                    <a:gd name="connsiteY31" fmla="*/ 2358036 h 2613857"/>
                    <a:gd name="connsiteX32" fmla="*/ 2628504 w 3355195"/>
                    <a:gd name="connsiteY32" fmla="*/ 2575106 h 2613857"/>
                    <a:gd name="connsiteX33" fmla="*/ 726686 w 3355195"/>
                    <a:gd name="connsiteY33" fmla="*/ 2575106 h 2613857"/>
                    <a:gd name="connsiteX34" fmla="*/ 883370 w 3355195"/>
                    <a:gd name="connsiteY34" fmla="*/ 2358036 h 2613857"/>
                    <a:gd name="connsiteX35" fmla="*/ 1296692 w 3355195"/>
                    <a:gd name="connsiteY35" fmla="*/ 2358036 h 2613857"/>
                    <a:gd name="connsiteX36" fmla="*/ 1296692 w 3355195"/>
                    <a:gd name="connsiteY36" fmla="*/ 2271804 h 2613857"/>
                    <a:gd name="connsiteX37" fmla="*/ 1296692 w 3355195"/>
                    <a:gd name="connsiteY37" fmla="*/ 2140967 h 2613857"/>
                    <a:gd name="connsiteX38" fmla="*/ 1145721 w 3355195"/>
                    <a:gd name="connsiteY38" fmla="*/ 2140967 h 2613857"/>
                    <a:gd name="connsiteX39" fmla="*/ 176589 w 3355195"/>
                    <a:gd name="connsiteY39" fmla="*/ 2140967 h 2613857"/>
                    <a:gd name="connsiteX40" fmla="*/ 0 w 3355195"/>
                    <a:gd name="connsiteY40" fmla="*/ 1924709 h 2613857"/>
                    <a:gd name="connsiteX41" fmla="*/ 0 w 3355195"/>
                    <a:gd name="connsiteY41" fmla="*/ 194633 h 2613857"/>
                    <a:gd name="connsiteX42" fmla="*/ 176589 w 3355195"/>
                    <a:gd name="connsiteY42" fmla="*/ 0 h 2613857"/>
                    <a:gd name="connsiteX0" fmla="*/ 880898 w 3355195"/>
                    <a:gd name="connsiteY0" fmla="*/ 2582224 h 2602162"/>
                    <a:gd name="connsiteX1" fmla="*/ 2610913 w 3355195"/>
                    <a:gd name="connsiteY1" fmla="*/ 2600935 h 2602162"/>
                    <a:gd name="connsiteX2" fmla="*/ 2044255 w 3355195"/>
                    <a:gd name="connsiteY2" fmla="*/ 2602162 h 2602162"/>
                    <a:gd name="connsiteX3" fmla="*/ 914114 w 3355195"/>
                    <a:gd name="connsiteY3" fmla="*/ 2576435 h 2602162"/>
                    <a:gd name="connsiteX4" fmla="*/ 880898 w 3355195"/>
                    <a:gd name="connsiteY4" fmla="*/ 2582224 h 2602162"/>
                    <a:gd name="connsiteX5" fmla="*/ 726686 w 3355195"/>
                    <a:gd name="connsiteY5" fmla="*/ 2575107 h 2602162"/>
                    <a:gd name="connsiteX6" fmla="*/ 2628504 w 3355195"/>
                    <a:gd name="connsiteY6" fmla="*/ 2575107 h 2602162"/>
                    <a:gd name="connsiteX7" fmla="*/ 2397734 w 3355195"/>
                    <a:gd name="connsiteY7" fmla="*/ 2596867 h 2602162"/>
                    <a:gd name="connsiteX8" fmla="*/ 857664 w 3355195"/>
                    <a:gd name="connsiteY8" fmla="*/ 2596867 h 2602162"/>
                    <a:gd name="connsiteX9" fmla="*/ 726686 w 3355195"/>
                    <a:gd name="connsiteY9" fmla="*/ 2575107 h 2602162"/>
                    <a:gd name="connsiteX10" fmla="*/ 178296 w 3355195"/>
                    <a:gd name="connsiteY10" fmla="*/ 196255 h 2602162"/>
                    <a:gd name="connsiteX11" fmla="*/ 178296 w 3355195"/>
                    <a:gd name="connsiteY11" fmla="*/ 1926870 h 2602162"/>
                    <a:gd name="connsiteX12" fmla="*/ 1296692 w 3355195"/>
                    <a:gd name="connsiteY12" fmla="*/ 1926870 h 2602162"/>
                    <a:gd name="connsiteX13" fmla="*/ 2039591 w 3355195"/>
                    <a:gd name="connsiteY13" fmla="*/ 1926870 h 2602162"/>
                    <a:gd name="connsiteX14" fmla="*/ 3198511 w 3355195"/>
                    <a:gd name="connsiteY14" fmla="*/ 1926870 h 2602162"/>
                    <a:gd name="connsiteX15" fmla="*/ 3198511 w 3355195"/>
                    <a:gd name="connsiteY15" fmla="*/ 196255 h 2602162"/>
                    <a:gd name="connsiteX16" fmla="*/ 178296 w 3355195"/>
                    <a:gd name="connsiteY16" fmla="*/ 196255 h 2602162"/>
                    <a:gd name="connsiteX17" fmla="*/ 1677597 w 3355195"/>
                    <a:gd name="connsiteY17" fmla="*/ 44602 h 2602162"/>
                    <a:gd name="connsiteX18" fmla="*/ 1628971 w 3355195"/>
                    <a:gd name="connsiteY18" fmla="*/ 87720 h 2602162"/>
                    <a:gd name="connsiteX19" fmla="*/ 1677597 w 3355195"/>
                    <a:gd name="connsiteY19" fmla="*/ 130837 h 2602162"/>
                    <a:gd name="connsiteX20" fmla="*/ 1726223 w 3355195"/>
                    <a:gd name="connsiteY20" fmla="*/ 87720 h 2602162"/>
                    <a:gd name="connsiteX21" fmla="*/ 1677597 w 3355195"/>
                    <a:gd name="connsiteY21" fmla="*/ 44602 h 2602162"/>
                    <a:gd name="connsiteX22" fmla="*/ 176589 w 3355195"/>
                    <a:gd name="connsiteY22" fmla="*/ 0 h 2602162"/>
                    <a:gd name="connsiteX23" fmla="*/ 3158984 w 3355195"/>
                    <a:gd name="connsiteY23" fmla="*/ 0 h 2602162"/>
                    <a:gd name="connsiteX24" fmla="*/ 3355195 w 3355195"/>
                    <a:gd name="connsiteY24" fmla="*/ 194633 h 2602162"/>
                    <a:gd name="connsiteX25" fmla="*/ 3355195 w 3355195"/>
                    <a:gd name="connsiteY25" fmla="*/ 1924709 h 2602162"/>
                    <a:gd name="connsiteX26" fmla="*/ 3158984 w 3355195"/>
                    <a:gd name="connsiteY26" fmla="*/ 2140967 h 2602162"/>
                    <a:gd name="connsiteX27" fmla="*/ 2174561 w 3355195"/>
                    <a:gd name="connsiteY27" fmla="*/ 2140967 h 2602162"/>
                    <a:gd name="connsiteX28" fmla="*/ 2039591 w 3355195"/>
                    <a:gd name="connsiteY28" fmla="*/ 2140967 h 2602162"/>
                    <a:gd name="connsiteX29" fmla="*/ 2039591 w 3355195"/>
                    <a:gd name="connsiteY29" fmla="*/ 2271804 h 2602162"/>
                    <a:gd name="connsiteX30" fmla="*/ 2039591 w 3355195"/>
                    <a:gd name="connsiteY30" fmla="*/ 2358036 h 2602162"/>
                    <a:gd name="connsiteX31" fmla="*/ 2471820 w 3355195"/>
                    <a:gd name="connsiteY31" fmla="*/ 2358036 h 2602162"/>
                    <a:gd name="connsiteX32" fmla="*/ 2628504 w 3355195"/>
                    <a:gd name="connsiteY32" fmla="*/ 2575106 h 2602162"/>
                    <a:gd name="connsiteX33" fmla="*/ 726686 w 3355195"/>
                    <a:gd name="connsiteY33" fmla="*/ 2575106 h 2602162"/>
                    <a:gd name="connsiteX34" fmla="*/ 883370 w 3355195"/>
                    <a:gd name="connsiteY34" fmla="*/ 2358036 h 2602162"/>
                    <a:gd name="connsiteX35" fmla="*/ 1296692 w 3355195"/>
                    <a:gd name="connsiteY35" fmla="*/ 2358036 h 2602162"/>
                    <a:gd name="connsiteX36" fmla="*/ 1296692 w 3355195"/>
                    <a:gd name="connsiteY36" fmla="*/ 2271804 h 2602162"/>
                    <a:gd name="connsiteX37" fmla="*/ 1296692 w 3355195"/>
                    <a:gd name="connsiteY37" fmla="*/ 2140967 h 2602162"/>
                    <a:gd name="connsiteX38" fmla="*/ 1145721 w 3355195"/>
                    <a:gd name="connsiteY38" fmla="*/ 2140967 h 2602162"/>
                    <a:gd name="connsiteX39" fmla="*/ 176589 w 3355195"/>
                    <a:gd name="connsiteY39" fmla="*/ 2140967 h 2602162"/>
                    <a:gd name="connsiteX40" fmla="*/ 0 w 3355195"/>
                    <a:gd name="connsiteY40" fmla="*/ 1924709 h 2602162"/>
                    <a:gd name="connsiteX41" fmla="*/ 0 w 3355195"/>
                    <a:gd name="connsiteY41" fmla="*/ 194633 h 2602162"/>
                    <a:gd name="connsiteX42" fmla="*/ 176589 w 3355195"/>
                    <a:gd name="connsiteY42" fmla="*/ 0 h 2602162"/>
                    <a:gd name="connsiteX0" fmla="*/ 880898 w 3355195"/>
                    <a:gd name="connsiteY0" fmla="*/ 2582224 h 2602162"/>
                    <a:gd name="connsiteX1" fmla="*/ 2610913 w 3355195"/>
                    <a:gd name="connsiteY1" fmla="*/ 2600935 h 2602162"/>
                    <a:gd name="connsiteX2" fmla="*/ 2038018 w 3355195"/>
                    <a:gd name="connsiteY2" fmla="*/ 2602162 h 2602162"/>
                    <a:gd name="connsiteX3" fmla="*/ 914114 w 3355195"/>
                    <a:gd name="connsiteY3" fmla="*/ 2576435 h 2602162"/>
                    <a:gd name="connsiteX4" fmla="*/ 880898 w 3355195"/>
                    <a:gd name="connsiteY4" fmla="*/ 2582224 h 2602162"/>
                    <a:gd name="connsiteX5" fmla="*/ 726686 w 3355195"/>
                    <a:gd name="connsiteY5" fmla="*/ 2575107 h 2602162"/>
                    <a:gd name="connsiteX6" fmla="*/ 2628504 w 3355195"/>
                    <a:gd name="connsiteY6" fmla="*/ 2575107 h 2602162"/>
                    <a:gd name="connsiteX7" fmla="*/ 2397734 w 3355195"/>
                    <a:gd name="connsiteY7" fmla="*/ 2596867 h 2602162"/>
                    <a:gd name="connsiteX8" fmla="*/ 857664 w 3355195"/>
                    <a:gd name="connsiteY8" fmla="*/ 2596867 h 2602162"/>
                    <a:gd name="connsiteX9" fmla="*/ 726686 w 3355195"/>
                    <a:gd name="connsiteY9" fmla="*/ 2575107 h 2602162"/>
                    <a:gd name="connsiteX10" fmla="*/ 178296 w 3355195"/>
                    <a:gd name="connsiteY10" fmla="*/ 196255 h 2602162"/>
                    <a:gd name="connsiteX11" fmla="*/ 178296 w 3355195"/>
                    <a:gd name="connsiteY11" fmla="*/ 1926870 h 2602162"/>
                    <a:gd name="connsiteX12" fmla="*/ 1296692 w 3355195"/>
                    <a:gd name="connsiteY12" fmla="*/ 1926870 h 2602162"/>
                    <a:gd name="connsiteX13" fmla="*/ 2039591 w 3355195"/>
                    <a:gd name="connsiteY13" fmla="*/ 1926870 h 2602162"/>
                    <a:gd name="connsiteX14" fmla="*/ 3198511 w 3355195"/>
                    <a:gd name="connsiteY14" fmla="*/ 1926870 h 2602162"/>
                    <a:gd name="connsiteX15" fmla="*/ 3198511 w 3355195"/>
                    <a:gd name="connsiteY15" fmla="*/ 196255 h 2602162"/>
                    <a:gd name="connsiteX16" fmla="*/ 178296 w 3355195"/>
                    <a:gd name="connsiteY16" fmla="*/ 196255 h 2602162"/>
                    <a:gd name="connsiteX17" fmla="*/ 1677597 w 3355195"/>
                    <a:gd name="connsiteY17" fmla="*/ 44602 h 2602162"/>
                    <a:gd name="connsiteX18" fmla="*/ 1628971 w 3355195"/>
                    <a:gd name="connsiteY18" fmla="*/ 87720 h 2602162"/>
                    <a:gd name="connsiteX19" fmla="*/ 1677597 w 3355195"/>
                    <a:gd name="connsiteY19" fmla="*/ 130837 h 2602162"/>
                    <a:gd name="connsiteX20" fmla="*/ 1726223 w 3355195"/>
                    <a:gd name="connsiteY20" fmla="*/ 87720 h 2602162"/>
                    <a:gd name="connsiteX21" fmla="*/ 1677597 w 3355195"/>
                    <a:gd name="connsiteY21" fmla="*/ 44602 h 2602162"/>
                    <a:gd name="connsiteX22" fmla="*/ 176589 w 3355195"/>
                    <a:gd name="connsiteY22" fmla="*/ 0 h 2602162"/>
                    <a:gd name="connsiteX23" fmla="*/ 3158984 w 3355195"/>
                    <a:gd name="connsiteY23" fmla="*/ 0 h 2602162"/>
                    <a:gd name="connsiteX24" fmla="*/ 3355195 w 3355195"/>
                    <a:gd name="connsiteY24" fmla="*/ 194633 h 2602162"/>
                    <a:gd name="connsiteX25" fmla="*/ 3355195 w 3355195"/>
                    <a:gd name="connsiteY25" fmla="*/ 1924709 h 2602162"/>
                    <a:gd name="connsiteX26" fmla="*/ 3158984 w 3355195"/>
                    <a:gd name="connsiteY26" fmla="*/ 2140967 h 2602162"/>
                    <a:gd name="connsiteX27" fmla="*/ 2174561 w 3355195"/>
                    <a:gd name="connsiteY27" fmla="*/ 2140967 h 2602162"/>
                    <a:gd name="connsiteX28" fmla="*/ 2039591 w 3355195"/>
                    <a:gd name="connsiteY28" fmla="*/ 2140967 h 2602162"/>
                    <a:gd name="connsiteX29" fmla="*/ 2039591 w 3355195"/>
                    <a:gd name="connsiteY29" fmla="*/ 2271804 h 2602162"/>
                    <a:gd name="connsiteX30" fmla="*/ 2039591 w 3355195"/>
                    <a:gd name="connsiteY30" fmla="*/ 2358036 h 2602162"/>
                    <a:gd name="connsiteX31" fmla="*/ 2471820 w 3355195"/>
                    <a:gd name="connsiteY31" fmla="*/ 2358036 h 2602162"/>
                    <a:gd name="connsiteX32" fmla="*/ 2628504 w 3355195"/>
                    <a:gd name="connsiteY32" fmla="*/ 2575106 h 2602162"/>
                    <a:gd name="connsiteX33" fmla="*/ 726686 w 3355195"/>
                    <a:gd name="connsiteY33" fmla="*/ 2575106 h 2602162"/>
                    <a:gd name="connsiteX34" fmla="*/ 883370 w 3355195"/>
                    <a:gd name="connsiteY34" fmla="*/ 2358036 h 2602162"/>
                    <a:gd name="connsiteX35" fmla="*/ 1296692 w 3355195"/>
                    <a:gd name="connsiteY35" fmla="*/ 2358036 h 2602162"/>
                    <a:gd name="connsiteX36" fmla="*/ 1296692 w 3355195"/>
                    <a:gd name="connsiteY36" fmla="*/ 2271804 h 2602162"/>
                    <a:gd name="connsiteX37" fmla="*/ 1296692 w 3355195"/>
                    <a:gd name="connsiteY37" fmla="*/ 2140967 h 2602162"/>
                    <a:gd name="connsiteX38" fmla="*/ 1145721 w 3355195"/>
                    <a:gd name="connsiteY38" fmla="*/ 2140967 h 2602162"/>
                    <a:gd name="connsiteX39" fmla="*/ 176589 w 3355195"/>
                    <a:gd name="connsiteY39" fmla="*/ 2140967 h 2602162"/>
                    <a:gd name="connsiteX40" fmla="*/ 0 w 3355195"/>
                    <a:gd name="connsiteY40" fmla="*/ 1924709 h 2602162"/>
                    <a:gd name="connsiteX41" fmla="*/ 0 w 3355195"/>
                    <a:gd name="connsiteY41" fmla="*/ 194633 h 2602162"/>
                    <a:gd name="connsiteX42" fmla="*/ 176589 w 3355195"/>
                    <a:gd name="connsiteY42" fmla="*/ 0 h 2602162"/>
                    <a:gd name="connsiteX0" fmla="*/ 880898 w 3355195"/>
                    <a:gd name="connsiteY0" fmla="*/ 2582224 h 2602162"/>
                    <a:gd name="connsiteX1" fmla="*/ 2336483 w 3355195"/>
                    <a:gd name="connsiteY1" fmla="*/ 2582224 h 2602162"/>
                    <a:gd name="connsiteX2" fmla="*/ 2038018 w 3355195"/>
                    <a:gd name="connsiteY2" fmla="*/ 2602162 h 2602162"/>
                    <a:gd name="connsiteX3" fmla="*/ 914114 w 3355195"/>
                    <a:gd name="connsiteY3" fmla="*/ 2576435 h 2602162"/>
                    <a:gd name="connsiteX4" fmla="*/ 880898 w 3355195"/>
                    <a:gd name="connsiteY4" fmla="*/ 2582224 h 2602162"/>
                    <a:gd name="connsiteX5" fmla="*/ 726686 w 3355195"/>
                    <a:gd name="connsiteY5" fmla="*/ 2575107 h 2602162"/>
                    <a:gd name="connsiteX6" fmla="*/ 2628504 w 3355195"/>
                    <a:gd name="connsiteY6" fmla="*/ 2575107 h 2602162"/>
                    <a:gd name="connsiteX7" fmla="*/ 2397734 w 3355195"/>
                    <a:gd name="connsiteY7" fmla="*/ 2596867 h 2602162"/>
                    <a:gd name="connsiteX8" fmla="*/ 857664 w 3355195"/>
                    <a:gd name="connsiteY8" fmla="*/ 2596867 h 2602162"/>
                    <a:gd name="connsiteX9" fmla="*/ 726686 w 3355195"/>
                    <a:gd name="connsiteY9" fmla="*/ 2575107 h 2602162"/>
                    <a:gd name="connsiteX10" fmla="*/ 178296 w 3355195"/>
                    <a:gd name="connsiteY10" fmla="*/ 196255 h 2602162"/>
                    <a:gd name="connsiteX11" fmla="*/ 178296 w 3355195"/>
                    <a:gd name="connsiteY11" fmla="*/ 1926870 h 2602162"/>
                    <a:gd name="connsiteX12" fmla="*/ 1296692 w 3355195"/>
                    <a:gd name="connsiteY12" fmla="*/ 1926870 h 2602162"/>
                    <a:gd name="connsiteX13" fmla="*/ 2039591 w 3355195"/>
                    <a:gd name="connsiteY13" fmla="*/ 1926870 h 2602162"/>
                    <a:gd name="connsiteX14" fmla="*/ 3198511 w 3355195"/>
                    <a:gd name="connsiteY14" fmla="*/ 1926870 h 2602162"/>
                    <a:gd name="connsiteX15" fmla="*/ 3198511 w 3355195"/>
                    <a:gd name="connsiteY15" fmla="*/ 196255 h 2602162"/>
                    <a:gd name="connsiteX16" fmla="*/ 178296 w 3355195"/>
                    <a:gd name="connsiteY16" fmla="*/ 196255 h 2602162"/>
                    <a:gd name="connsiteX17" fmla="*/ 1677597 w 3355195"/>
                    <a:gd name="connsiteY17" fmla="*/ 44602 h 2602162"/>
                    <a:gd name="connsiteX18" fmla="*/ 1628971 w 3355195"/>
                    <a:gd name="connsiteY18" fmla="*/ 87720 h 2602162"/>
                    <a:gd name="connsiteX19" fmla="*/ 1677597 w 3355195"/>
                    <a:gd name="connsiteY19" fmla="*/ 130837 h 2602162"/>
                    <a:gd name="connsiteX20" fmla="*/ 1726223 w 3355195"/>
                    <a:gd name="connsiteY20" fmla="*/ 87720 h 2602162"/>
                    <a:gd name="connsiteX21" fmla="*/ 1677597 w 3355195"/>
                    <a:gd name="connsiteY21" fmla="*/ 44602 h 2602162"/>
                    <a:gd name="connsiteX22" fmla="*/ 176589 w 3355195"/>
                    <a:gd name="connsiteY22" fmla="*/ 0 h 2602162"/>
                    <a:gd name="connsiteX23" fmla="*/ 3158984 w 3355195"/>
                    <a:gd name="connsiteY23" fmla="*/ 0 h 2602162"/>
                    <a:gd name="connsiteX24" fmla="*/ 3355195 w 3355195"/>
                    <a:gd name="connsiteY24" fmla="*/ 194633 h 2602162"/>
                    <a:gd name="connsiteX25" fmla="*/ 3355195 w 3355195"/>
                    <a:gd name="connsiteY25" fmla="*/ 1924709 h 2602162"/>
                    <a:gd name="connsiteX26" fmla="*/ 3158984 w 3355195"/>
                    <a:gd name="connsiteY26" fmla="*/ 2140967 h 2602162"/>
                    <a:gd name="connsiteX27" fmla="*/ 2174561 w 3355195"/>
                    <a:gd name="connsiteY27" fmla="*/ 2140967 h 2602162"/>
                    <a:gd name="connsiteX28" fmla="*/ 2039591 w 3355195"/>
                    <a:gd name="connsiteY28" fmla="*/ 2140967 h 2602162"/>
                    <a:gd name="connsiteX29" fmla="*/ 2039591 w 3355195"/>
                    <a:gd name="connsiteY29" fmla="*/ 2271804 h 2602162"/>
                    <a:gd name="connsiteX30" fmla="*/ 2039591 w 3355195"/>
                    <a:gd name="connsiteY30" fmla="*/ 2358036 h 2602162"/>
                    <a:gd name="connsiteX31" fmla="*/ 2471820 w 3355195"/>
                    <a:gd name="connsiteY31" fmla="*/ 2358036 h 2602162"/>
                    <a:gd name="connsiteX32" fmla="*/ 2628504 w 3355195"/>
                    <a:gd name="connsiteY32" fmla="*/ 2575106 h 2602162"/>
                    <a:gd name="connsiteX33" fmla="*/ 726686 w 3355195"/>
                    <a:gd name="connsiteY33" fmla="*/ 2575106 h 2602162"/>
                    <a:gd name="connsiteX34" fmla="*/ 883370 w 3355195"/>
                    <a:gd name="connsiteY34" fmla="*/ 2358036 h 2602162"/>
                    <a:gd name="connsiteX35" fmla="*/ 1296692 w 3355195"/>
                    <a:gd name="connsiteY35" fmla="*/ 2358036 h 2602162"/>
                    <a:gd name="connsiteX36" fmla="*/ 1296692 w 3355195"/>
                    <a:gd name="connsiteY36" fmla="*/ 2271804 h 2602162"/>
                    <a:gd name="connsiteX37" fmla="*/ 1296692 w 3355195"/>
                    <a:gd name="connsiteY37" fmla="*/ 2140967 h 2602162"/>
                    <a:gd name="connsiteX38" fmla="*/ 1145721 w 3355195"/>
                    <a:gd name="connsiteY38" fmla="*/ 2140967 h 2602162"/>
                    <a:gd name="connsiteX39" fmla="*/ 176589 w 3355195"/>
                    <a:gd name="connsiteY39" fmla="*/ 2140967 h 2602162"/>
                    <a:gd name="connsiteX40" fmla="*/ 0 w 3355195"/>
                    <a:gd name="connsiteY40" fmla="*/ 1924709 h 2602162"/>
                    <a:gd name="connsiteX41" fmla="*/ 0 w 3355195"/>
                    <a:gd name="connsiteY41" fmla="*/ 194633 h 2602162"/>
                    <a:gd name="connsiteX42" fmla="*/ 176589 w 3355195"/>
                    <a:gd name="connsiteY42" fmla="*/ 0 h 2602162"/>
                    <a:gd name="connsiteX0" fmla="*/ 880898 w 3355195"/>
                    <a:gd name="connsiteY0" fmla="*/ 2582224 h 2602162"/>
                    <a:gd name="connsiteX1" fmla="*/ 2336483 w 3355195"/>
                    <a:gd name="connsiteY1" fmla="*/ 2582224 h 2602162"/>
                    <a:gd name="connsiteX2" fmla="*/ 2038018 w 3355195"/>
                    <a:gd name="connsiteY2" fmla="*/ 2602162 h 2602162"/>
                    <a:gd name="connsiteX3" fmla="*/ 914114 w 3355195"/>
                    <a:gd name="connsiteY3" fmla="*/ 2576435 h 2602162"/>
                    <a:gd name="connsiteX4" fmla="*/ 880898 w 3355195"/>
                    <a:gd name="connsiteY4" fmla="*/ 2582224 h 2602162"/>
                    <a:gd name="connsiteX5" fmla="*/ 726686 w 3355195"/>
                    <a:gd name="connsiteY5" fmla="*/ 2575107 h 2602162"/>
                    <a:gd name="connsiteX6" fmla="*/ 2628504 w 3355195"/>
                    <a:gd name="connsiteY6" fmla="*/ 2575107 h 2602162"/>
                    <a:gd name="connsiteX7" fmla="*/ 2210623 w 3355195"/>
                    <a:gd name="connsiteY7" fmla="*/ 2571919 h 2602162"/>
                    <a:gd name="connsiteX8" fmla="*/ 857664 w 3355195"/>
                    <a:gd name="connsiteY8" fmla="*/ 2596867 h 2602162"/>
                    <a:gd name="connsiteX9" fmla="*/ 726686 w 3355195"/>
                    <a:gd name="connsiteY9" fmla="*/ 2575107 h 2602162"/>
                    <a:gd name="connsiteX10" fmla="*/ 178296 w 3355195"/>
                    <a:gd name="connsiteY10" fmla="*/ 196255 h 2602162"/>
                    <a:gd name="connsiteX11" fmla="*/ 178296 w 3355195"/>
                    <a:gd name="connsiteY11" fmla="*/ 1926870 h 2602162"/>
                    <a:gd name="connsiteX12" fmla="*/ 1296692 w 3355195"/>
                    <a:gd name="connsiteY12" fmla="*/ 1926870 h 2602162"/>
                    <a:gd name="connsiteX13" fmla="*/ 2039591 w 3355195"/>
                    <a:gd name="connsiteY13" fmla="*/ 1926870 h 2602162"/>
                    <a:gd name="connsiteX14" fmla="*/ 3198511 w 3355195"/>
                    <a:gd name="connsiteY14" fmla="*/ 1926870 h 2602162"/>
                    <a:gd name="connsiteX15" fmla="*/ 3198511 w 3355195"/>
                    <a:gd name="connsiteY15" fmla="*/ 196255 h 2602162"/>
                    <a:gd name="connsiteX16" fmla="*/ 178296 w 3355195"/>
                    <a:gd name="connsiteY16" fmla="*/ 196255 h 2602162"/>
                    <a:gd name="connsiteX17" fmla="*/ 1677597 w 3355195"/>
                    <a:gd name="connsiteY17" fmla="*/ 44602 h 2602162"/>
                    <a:gd name="connsiteX18" fmla="*/ 1628971 w 3355195"/>
                    <a:gd name="connsiteY18" fmla="*/ 87720 h 2602162"/>
                    <a:gd name="connsiteX19" fmla="*/ 1677597 w 3355195"/>
                    <a:gd name="connsiteY19" fmla="*/ 130837 h 2602162"/>
                    <a:gd name="connsiteX20" fmla="*/ 1726223 w 3355195"/>
                    <a:gd name="connsiteY20" fmla="*/ 87720 h 2602162"/>
                    <a:gd name="connsiteX21" fmla="*/ 1677597 w 3355195"/>
                    <a:gd name="connsiteY21" fmla="*/ 44602 h 2602162"/>
                    <a:gd name="connsiteX22" fmla="*/ 176589 w 3355195"/>
                    <a:gd name="connsiteY22" fmla="*/ 0 h 2602162"/>
                    <a:gd name="connsiteX23" fmla="*/ 3158984 w 3355195"/>
                    <a:gd name="connsiteY23" fmla="*/ 0 h 2602162"/>
                    <a:gd name="connsiteX24" fmla="*/ 3355195 w 3355195"/>
                    <a:gd name="connsiteY24" fmla="*/ 194633 h 2602162"/>
                    <a:gd name="connsiteX25" fmla="*/ 3355195 w 3355195"/>
                    <a:gd name="connsiteY25" fmla="*/ 1924709 h 2602162"/>
                    <a:gd name="connsiteX26" fmla="*/ 3158984 w 3355195"/>
                    <a:gd name="connsiteY26" fmla="*/ 2140967 h 2602162"/>
                    <a:gd name="connsiteX27" fmla="*/ 2174561 w 3355195"/>
                    <a:gd name="connsiteY27" fmla="*/ 2140967 h 2602162"/>
                    <a:gd name="connsiteX28" fmla="*/ 2039591 w 3355195"/>
                    <a:gd name="connsiteY28" fmla="*/ 2140967 h 2602162"/>
                    <a:gd name="connsiteX29" fmla="*/ 2039591 w 3355195"/>
                    <a:gd name="connsiteY29" fmla="*/ 2271804 h 2602162"/>
                    <a:gd name="connsiteX30" fmla="*/ 2039591 w 3355195"/>
                    <a:gd name="connsiteY30" fmla="*/ 2358036 h 2602162"/>
                    <a:gd name="connsiteX31" fmla="*/ 2471820 w 3355195"/>
                    <a:gd name="connsiteY31" fmla="*/ 2358036 h 2602162"/>
                    <a:gd name="connsiteX32" fmla="*/ 2628504 w 3355195"/>
                    <a:gd name="connsiteY32" fmla="*/ 2575106 h 2602162"/>
                    <a:gd name="connsiteX33" fmla="*/ 726686 w 3355195"/>
                    <a:gd name="connsiteY33" fmla="*/ 2575106 h 2602162"/>
                    <a:gd name="connsiteX34" fmla="*/ 883370 w 3355195"/>
                    <a:gd name="connsiteY34" fmla="*/ 2358036 h 2602162"/>
                    <a:gd name="connsiteX35" fmla="*/ 1296692 w 3355195"/>
                    <a:gd name="connsiteY35" fmla="*/ 2358036 h 2602162"/>
                    <a:gd name="connsiteX36" fmla="*/ 1296692 w 3355195"/>
                    <a:gd name="connsiteY36" fmla="*/ 2271804 h 2602162"/>
                    <a:gd name="connsiteX37" fmla="*/ 1296692 w 3355195"/>
                    <a:gd name="connsiteY37" fmla="*/ 2140967 h 2602162"/>
                    <a:gd name="connsiteX38" fmla="*/ 1145721 w 3355195"/>
                    <a:gd name="connsiteY38" fmla="*/ 2140967 h 2602162"/>
                    <a:gd name="connsiteX39" fmla="*/ 176589 w 3355195"/>
                    <a:gd name="connsiteY39" fmla="*/ 2140967 h 2602162"/>
                    <a:gd name="connsiteX40" fmla="*/ 0 w 3355195"/>
                    <a:gd name="connsiteY40" fmla="*/ 1924709 h 2602162"/>
                    <a:gd name="connsiteX41" fmla="*/ 0 w 3355195"/>
                    <a:gd name="connsiteY41" fmla="*/ 194633 h 2602162"/>
                    <a:gd name="connsiteX42" fmla="*/ 176589 w 3355195"/>
                    <a:gd name="connsiteY42" fmla="*/ 0 h 2602162"/>
                    <a:gd name="connsiteX0" fmla="*/ 880898 w 3355195"/>
                    <a:gd name="connsiteY0" fmla="*/ 2582224 h 2596867"/>
                    <a:gd name="connsiteX1" fmla="*/ 2336483 w 3355195"/>
                    <a:gd name="connsiteY1" fmla="*/ 2582224 h 2596867"/>
                    <a:gd name="connsiteX2" fmla="*/ 1956937 w 3355195"/>
                    <a:gd name="connsiteY2" fmla="*/ 2570977 h 2596867"/>
                    <a:gd name="connsiteX3" fmla="*/ 914114 w 3355195"/>
                    <a:gd name="connsiteY3" fmla="*/ 2576435 h 2596867"/>
                    <a:gd name="connsiteX4" fmla="*/ 880898 w 3355195"/>
                    <a:gd name="connsiteY4" fmla="*/ 2582224 h 2596867"/>
                    <a:gd name="connsiteX5" fmla="*/ 726686 w 3355195"/>
                    <a:gd name="connsiteY5" fmla="*/ 2575107 h 2596867"/>
                    <a:gd name="connsiteX6" fmla="*/ 2628504 w 3355195"/>
                    <a:gd name="connsiteY6" fmla="*/ 2575107 h 2596867"/>
                    <a:gd name="connsiteX7" fmla="*/ 2210623 w 3355195"/>
                    <a:gd name="connsiteY7" fmla="*/ 2571919 h 2596867"/>
                    <a:gd name="connsiteX8" fmla="*/ 857664 w 3355195"/>
                    <a:gd name="connsiteY8" fmla="*/ 2596867 h 2596867"/>
                    <a:gd name="connsiteX9" fmla="*/ 726686 w 3355195"/>
                    <a:gd name="connsiteY9" fmla="*/ 2575107 h 2596867"/>
                    <a:gd name="connsiteX10" fmla="*/ 178296 w 3355195"/>
                    <a:gd name="connsiteY10" fmla="*/ 196255 h 2596867"/>
                    <a:gd name="connsiteX11" fmla="*/ 178296 w 3355195"/>
                    <a:gd name="connsiteY11" fmla="*/ 1926870 h 2596867"/>
                    <a:gd name="connsiteX12" fmla="*/ 1296692 w 3355195"/>
                    <a:gd name="connsiteY12" fmla="*/ 1926870 h 2596867"/>
                    <a:gd name="connsiteX13" fmla="*/ 2039591 w 3355195"/>
                    <a:gd name="connsiteY13" fmla="*/ 1926870 h 2596867"/>
                    <a:gd name="connsiteX14" fmla="*/ 3198511 w 3355195"/>
                    <a:gd name="connsiteY14" fmla="*/ 1926870 h 2596867"/>
                    <a:gd name="connsiteX15" fmla="*/ 3198511 w 3355195"/>
                    <a:gd name="connsiteY15" fmla="*/ 196255 h 2596867"/>
                    <a:gd name="connsiteX16" fmla="*/ 178296 w 3355195"/>
                    <a:gd name="connsiteY16" fmla="*/ 196255 h 2596867"/>
                    <a:gd name="connsiteX17" fmla="*/ 1677597 w 3355195"/>
                    <a:gd name="connsiteY17" fmla="*/ 44602 h 2596867"/>
                    <a:gd name="connsiteX18" fmla="*/ 1628971 w 3355195"/>
                    <a:gd name="connsiteY18" fmla="*/ 87720 h 2596867"/>
                    <a:gd name="connsiteX19" fmla="*/ 1677597 w 3355195"/>
                    <a:gd name="connsiteY19" fmla="*/ 130837 h 2596867"/>
                    <a:gd name="connsiteX20" fmla="*/ 1726223 w 3355195"/>
                    <a:gd name="connsiteY20" fmla="*/ 87720 h 2596867"/>
                    <a:gd name="connsiteX21" fmla="*/ 1677597 w 3355195"/>
                    <a:gd name="connsiteY21" fmla="*/ 44602 h 2596867"/>
                    <a:gd name="connsiteX22" fmla="*/ 176589 w 3355195"/>
                    <a:gd name="connsiteY22" fmla="*/ 0 h 2596867"/>
                    <a:gd name="connsiteX23" fmla="*/ 3158984 w 3355195"/>
                    <a:gd name="connsiteY23" fmla="*/ 0 h 2596867"/>
                    <a:gd name="connsiteX24" fmla="*/ 3355195 w 3355195"/>
                    <a:gd name="connsiteY24" fmla="*/ 194633 h 2596867"/>
                    <a:gd name="connsiteX25" fmla="*/ 3355195 w 3355195"/>
                    <a:gd name="connsiteY25" fmla="*/ 1924709 h 2596867"/>
                    <a:gd name="connsiteX26" fmla="*/ 3158984 w 3355195"/>
                    <a:gd name="connsiteY26" fmla="*/ 2140967 h 2596867"/>
                    <a:gd name="connsiteX27" fmla="*/ 2174561 w 3355195"/>
                    <a:gd name="connsiteY27" fmla="*/ 2140967 h 2596867"/>
                    <a:gd name="connsiteX28" fmla="*/ 2039591 w 3355195"/>
                    <a:gd name="connsiteY28" fmla="*/ 2140967 h 2596867"/>
                    <a:gd name="connsiteX29" fmla="*/ 2039591 w 3355195"/>
                    <a:gd name="connsiteY29" fmla="*/ 2271804 h 2596867"/>
                    <a:gd name="connsiteX30" fmla="*/ 2039591 w 3355195"/>
                    <a:gd name="connsiteY30" fmla="*/ 2358036 h 2596867"/>
                    <a:gd name="connsiteX31" fmla="*/ 2471820 w 3355195"/>
                    <a:gd name="connsiteY31" fmla="*/ 2358036 h 2596867"/>
                    <a:gd name="connsiteX32" fmla="*/ 2628504 w 3355195"/>
                    <a:gd name="connsiteY32" fmla="*/ 2575106 h 2596867"/>
                    <a:gd name="connsiteX33" fmla="*/ 726686 w 3355195"/>
                    <a:gd name="connsiteY33" fmla="*/ 2575106 h 2596867"/>
                    <a:gd name="connsiteX34" fmla="*/ 883370 w 3355195"/>
                    <a:gd name="connsiteY34" fmla="*/ 2358036 h 2596867"/>
                    <a:gd name="connsiteX35" fmla="*/ 1296692 w 3355195"/>
                    <a:gd name="connsiteY35" fmla="*/ 2358036 h 2596867"/>
                    <a:gd name="connsiteX36" fmla="*/ 1296692 w 3355195"/>
                    <a:gd name="connsiteY36" fmla="*/ 2271804 h 2596867"/>
                    <a:gd name="connsiteX37" fmla="*/ 1296692 w 3355195"/>
                    <a:gd name="connsiteY37" fmla="*/ 2140967 h 2596867"/>
                    <a:gd name="connsiteX38" fmla="*/ 1145721 w 3355195"/>
                    <a:gd name="connsiteY38" fmla="*/ 2140967 h 2596867"/>
                    <a:gd name="connsiteX39" fmla="*/ 176589 w 3355195"/>
                    <a:gd name="connsiteY39" fmla="*/ 2140967 h 2596867"/>
                    <a:gd name="connsiteX40" fmla="*/ 0 w 3355195"/>
                    <a:gd name="connsiteY40" fmla="*/ 1924709 h 2596867"/>
                    <a:gd name="connsiteX41" fmla="*/ 0 w 3355195"/>
                    <a:gd name="connsiteY41" fmla="*/ 194633 h 2596867"/>
                    <a:gd name="connsiteX42" fmla="*/ 176589 w 3355195"/>
                    <a:gd name="connsiteY42" fmla="*/ 0 h 2596867"/>
                    <a:gd name="connsiteX0" fmla="*/ 880898 w 3355195"/>
                    <a:gd name="connsiteY0" fmla="*/ 2582224 h 2596867"/>
                    <a:gd name="connsiteX1" fmla="*/ 2336483 w 3355195"/>
                    <a:gd name="connsiteY1" fmla="*/ 2582224 h 2596867"/>
                    <a:gd name="connsiteX2" fmla="*/ 1956937 w 3355195"/>
                    <a:gd name="connsiteY2" fmla="*/ 2570977 h 2596867"/>
                    <a:gd name="connsiteX3" fmla="*/ 914114 w 3355195"/>
                    <a:gd name="connsiteY3" fmla="*/ 2576435 h 2596867"/>
                    <a:gd name="connsiteX4" fmla="*/ 880898 w 3355195"/>
                    <a:gd name="connsiteY4" fmla="*/ 2582224 h 2596867"/>
                    <a:gd name="connsiteX5" fmla="*/ 726686 w 3355195"/>
                    <a:gd name="connsiteY5" fmla="*/ 2575107 h 2596867"/>
                    <a:gd name="connsiteX6" fmla="*/ 2628504 w 3355195"/>
                    <a:gd name="connsiteY6" fmla="*/ 2575107 h 2596867"/>
                    <a:gd name="connsiteX7" fmla="*/ 2210623 w 3355195"/>
                    <a:gd name="connsiteY7" fmla="*/ 2571919 h 2596867"/>
                    <a:gd name="connsiteX8" fmla="*/ 857664 w 3355195"/>
                    <a:gd name="connsiteY8" fmla="*/ 2596867 h 2596867"/>
                    <a:gd name="connsiteX9" fmla="*/ 726686 w 3355195"/>
                    <a:gd name="connsiteY9" fmla="*/ 2575107 h 2596867"/>
                    <a:gd name="connsiteX10" fmla="*/ 178296 w 3355195"/>
                    <a:gd name="connsiteY10" fmla="*/ 196255 h 2596867"/>
                    <a:gd name="connsiteX11" fmla="*/ 178296 w 3355195"/>
                    <a:gd name="connsiteY11" fmla="*/ 1926870 h 2596867"/>
                    <a:gd name="connsiteX12" fmla="*/ 1296692 w 3355195"/>
                    <a:gd name="connsiteY12" fmla="*/ 1926870 h 2596867"/>
                    <a:gd name="connsiteX13" fmla="*/ 2039591 w 3355195"/>
                    <a:gd name="connsiteY13" fmla="*/ 1926870 h 2596867"/>
                    <a:gd name="connsiteX14" fmla="*/ 3198511 w 3355195"/>
                    <a:gd name="connsiteY14" fmla="*/ 1926870 h 2596867"/>
                    <a:gd name="connsiteX15" fmla="*/ 3198511 w 3355195"/>
                    <a:gd name="connsiteY15" fmla="*/ 196255 h 2596867"/>
                    <a:gd name="connsiteX16" fmla="*/ 178296 w 3355195"/>
                    <a:gd name="connsiteY16" fmla="*/ 196255 h 2596867"/>
                    <a:gd name="connsiteX17" fmla="*/ 1677597 w 3355195"/>
                    <a:gd name="connsiteY17" fmla="*/ 44602 h 2596867"/>
                    <a:gd name="connsiteX18" fmla="*/ 1628971 w 3355195"/>
                    <a:gd name="connsiteY18" fmla="*/ 87720 h 2596867"/>
                    <a:gd name="connsiteX19" fmla="*/ 1677597 w 3355195"/>
                    <a:gd name="connsiteY19" fmla="*/ 130837 h 2596867"/>
                    <a:gd name="connsiteX20" fmla="*/ 1726223 w 3355195"/>
                    <a:gd name="connsiteY20" fmla="*/ 87720 h 2596867"/>
                    <a:gd name="connsiteX21" fmla="*/ 1677597 w 3355195"/>
                    <a:gd name="connsiteY21" fmla="*/ 44602 h 2596867"/>
                    <a:gd name="connsiteX22" fmla="*/ 176589 w 3355195"/>
                    <a:gd name="connsiteY22" fmla="*/ 0 h 2596867"/>
                    <a:gd name="connsiteX23" fmla="*/ 3158984 w 3355195"/>
                    <a:gd name="connsiteY23" fmla="*/ 0 h 2596867"/>
                    <a:gd name="connsiteX24" fmla="*/ 3355195 w 3355195"/>
                    <a:gd name="connsiteY24" fmla="*/ 194633 h 2596867"/>
                    <a:gd name="connsiteX25" fmla="*/ 3355195 w 3355195"/>
                    <a:gd name="connsiteY25" fmla="*/ 1924709 h 2596867"/>
                    <a:gd name="connsiteX26" fmla="*/ 3158984 w 3355195"/>
                    <a:gd name="connsiteY26" fmla="*/ 2140967 h 2596867"/>
                    <a:gd name="connsiteX27" fmla="*/ 2174561 w 3355195"/>
                    <a:gd name="connsiteY27" fmla="*/ 2140967 h 2596867"/>
                    <a:gd name="connsiteX28" fmla="*/ 2039591 w 3355195"/>
                    <a:gd name="connsiteY28" fmla="*/ 2140967 h 2596867"/>
                    <a:gd name="connsiteX29" fmla="*/ 2039591 w 3355195"/>
                    <a:gd name="connsiteY29" fmla="*/ 2271804 h 2596867"/>
                    <a:gd name="connsiteX30" fmla="*/ 2039591 w 3355195"/>
                    <a:gd name="connsiteY30" fmla="*/ 2358036 h 2596867"/>
                    <a:gd name="connsiteX31" fmla="*/ 2471820 w 3355195"/>
                    <a:gd name="connsiteY31" fmla="*/ 2358036 h 2596867"/>
                    <a:gd name="connsiteX32" fmla="*/ 2628504 w 3355195"/>
                    <a:gd name="connsiteY32" fmla="*/ 2575106 h 2596867"/>
                    <a:gd name="connsiteX33" fmla="*/ 701738 w 3355195"/>
                    <a:gd name="connsiteY33" fmla="*/ 2575106 h 2596867"/>
                    <a:gd name="connsiteX34" fmla="*/ 883370 w 3355195"/>
                    <a:gd name="connsiteY34" fmla="*/ 2358036 h 2596867"/>
                    <a:gd name="connsiteX35" fmla="*/ 1296692 w 3355195"/>
                    <a:gd name="connsiteY35" fmla="*/ 2358036 h 2596867"/>
                    <a:gd name="connsiteX36" fmla="*/ 1296692 w 3355195"/>
                    <a:gd name="connsiteY36" fmla="*/ 2271804 h 2596867"/>
                    <a:gd name="connsiteX37" fmla="*/ 1296692 w 3355195"/>
                    <a:gd name="connsiteY37" fmla="*/ 2140967 h 2596867"/>
                    <a:gd name="connsiteX38" fmla="*/ 1145721 w 3355195"/>
                    <a:gd name="connsiteY38" fmla="*/ 2140967 h 2596867"/>
                    <a:gd name="connsiteX39" fmla="*/ 176589 w 3355195"/>
                    <a:gd name="connsiteY39" fmla="*/ 2140967 h 2596867"/>
                    <a:gd name="connsiteX40" fmla="*/ 0 w 3355195"/>
                    <a:gd name="connsiteY40" fmla="*/ 1924709 h 2596867"/>
                    <a:gd name="connsiteX41" fmla="*/ 0 w 3355195"/>
                    <a:gd name="connsiteY41" fmla="*/ 194633 h 2596867"/>
                    <a:gd name="connsiteX42" fmla="*/ 176589 w 3355195"/>
                    <a:gd name="connsiteY42" fmla="*/ 0 h 2596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355195" h="2596867">
                      <a:moveTo>
                        <a:pt x="880898" y="2582224"/>
                      </a:moveTo>
                      <a:lnTo>
                        <a:pt x="2336483" y="2582224"/>
                      </a:lnTo>
                      <a:lnTo>
                        <a:pt x="1956937" y="2570977"/>
                      </a:lnTo>
                      <a:cubicBezTo>
                        <a:pt x="786311" y="2570977"/>
                        <a:pt x="2116706" y="2576435"/>
                        <a:pt x="914114" y="2576435"/>
                      </a:cubicBezTo>
                      <a:lnTo>
                        <a:pt x="880898" y="2582224"/>
                      </a:lnTo>
                      <a:close/>
                      <a:moveTo>
                        <a:pt x="726686" y="2575107"/>
                      </a:moveTo>
                      <a:lnTo>
                        <a:pt x="2628504" y="2575107"/>
                      </a:lnTo>
                      <a:lnTo>
                        <a:pt x="2210623" y="2571919"/>
                      </a:lnTo>
                      <a:lnTo>
                        <a:pt x="857664" y="2596867"/>
                      </a:lnTo>
                      <a:lnTo>
                        <a:pt x="726686" y="2575107"/>
                      </a:lnTo>
                      <a:close/>
                      <a:moveTo>
                        <a:pt x="178296" y="196255"/>
                      </a:moveTo>
                      <a:lnTo>
                        <a:pt x="178296" y="1926870"/>
                      </a:lnTo>
                      <a:lnTo>
                        <a:pt x="1296692" y="1926870"/>
                      </a:lnTo>
                      <a:lnTo>
                        <a:pt x="2039591" y="1926870"/>
                      </a:lnTo>
                      <a:lnTo>
                        <a:pt x="3198511" y="1926870"/>
                      </a:lnTo>
                      <a:lnTo>
                        <a:pt x="3198511" y="196255"/>
                      </a:lnTo>
                      <a:lnTo>
                        <a:pt x="178296" y="196255"/>
                      </a:lnTo>
                      <a:close/>
                      <a:moveTo>
                        <a:pt x="1677597" y="44602"/>
                      </a:moveTo>
                      <a:cubicBezTo>
                        <a:pt x="1650741" y="44602"/>
                        <a:pt x="1628971" y="63907"/>
                        <a:pt x="1628971" y="87720"/>
                      </a:cubicBezTo>
                      <a:cubicBezTo>
                        <a:pt x="1628971" y="111532"/>
                        <a:pt x="1650741" y="130837"/>
                        <a:pt x="1677597" y="130837"/>
                      </a:cubicBezTo>
                      <a:cubicBezTo>
                        <a:pt x="1704453" y="130837"/>
                        <a:pt x="1726223" y="111532"/>
                        <a:pt x="1726223" y="87720"/>
                      </a:cubicBezTo>
                      <a:cubicBezTo>
                        <a:pt x="1726223" y="63907"/>
                        <a:pt x="1704453" y="44602"/>
                        <a:pt x="1677597" y="44602"/>
                      </a:cubicBezTo>
                      <a:close/>
                      <a:moveTo>
                        <a:pt x="176589" y="0"/>
                      </a:moveTo>
                      <a:lnTo>
                        <a:pt x="3158984" y="0"/>
                      </a:lnTo>
                      <a:cubicBezTo>
                        <a:pt x="3276711" y="0"/>
                        <a:pt x="3355195" y="86504"/>
                        <a:pt x="3355195" y="194633"/>
                      </a:cubicBezTo>
                      <a:lnTo>
                        <a:pt x="3355195" y="1924709"/>
                      </a:lnTo>
                      <a:cubicBezTo>
                        <a:pt x="3355195" y="2032838"/>
                        <a:pt x="3276711" y="2140967"/>
                        <a:pt x="3158984" y="2140967"/>
                      </a:cubicBezTo>
                      <a:lnTo>
                        <a:pt x="2174561" y="2140967"/>
                      </a:lnTo>
                      <a:lnTo>
                        <a:pt x="2039591" y="2140967"/>
                      </a:lnTo>
                      <a:lnTo>
                        <a:pt x="2039591" y="2271804"/>
                      </a:lnTo>
                      <a:lnTo>
                        <a:pt x="2039591" y="2358036"/>
                      </a:lnTo>
                      <a:lnTo>
                        <a:pt x="2471820" y="2358036"/>
                      </a:lnTo>
                      <a:lnTo>
                        <a:pt x="2628504" y="2575106"/>
                      </a:lnTo>
                      <a:lnTo>
                        <a:pt x="701738" y="2575106"/>
                      </a:lnTo>
                      <a:lnTo>
                        <a:pt x="883370" y="2358036"/>
                      </a:lnTo>
                      <a:lnTo>
                        <a:pt x="1296692" y="2358036"/>
                      </a:lnTo>
                      <a:lnTo>
                        <a:pt x="1296692" y="2271804"/>
                      </a:lnTo>
                      <a:lnTo>
                        <a:pt x="1296692" y="2140967"/>
                      </a:lnTo>
                      <a:lnTo>
                        <a:pt x="1145721" y="2140967"/>
                      </a:lnTo>
                      <a:lnTo>
                        <a:pt x="176589" y="2140967"/>
                      </a:lnTo>
                      <a:cubicBezTo>
                        <a:pt x="78484" y="2140967"/>
                        <a:pt x="0" y="2032838"/>
                        <a:pt x="0" y="1924709"/>
                      </a:cubicBezTo>
                      <a:lnTo>
                        <a:pt x="0" y="194633"/>
                      </a:lnTo>
                      <a:cubicBezTo>
                        <a:pt x="0" y="86504"/>
                        <a:pt x="78484" y="0"/>
                        <a:pt x="176589" y="0"/>
                      </a:cubicBezTo>
                      <a:close/>
                    </a:path>
                  </a:pathLst>
                </a:custGeom>
                <a:solidFill>
                  <a:srgbClr val="0070C0"/>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93" name="Rectangle 92">
                  <a:extLst>
                    <a:ext uri="{FF2B5EF4-FFF2-40B4-BE49-F238E27FC236}">
                      <a16:creationId xmlns:a16="http://schemas.microsoft.com/office/drawing/2014/main" id="{8578CECB-1207-433C-ABDC-B39948D0C179}"/>
                    </a:ext>
                  </a:extLst>
                </p:cNvPr>
                <p:cNvSpPr/>
                <p:nvPr/>
              </p:nvSpPr>
              <p:spPr>
                <a:xfrm>
                  <a:off x="4723477" y="5764785"/>
                  <a:ext cx="2982248"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                                               </a:t>
                  </a:r>
                </a:p>
              </p:txBody>
            </p:sp>
          </p:grpSp>
          <p:sp>
            <p:nvSpPr>
              <p:cNvPr id="82" name="Donut 49">
                <a:extLst>
                  <a:ext uri="{FF2B5EF4-FFF2-40B4-BE49-F238E27FC236}">
                    <a16:creationId xmlns:a16="http://schemas.microsoft.com/office/drawing/2014/main" id="{15F23B1E-81A1-46C1-AF10-B547F09B7DD8}"/>
                  </a:ext>
                </a:extLst>
              </p:cNvPr>
              <p:cNvSpPr/>
              <p:nvPr/>
            </p:nvSpPr>
            <p:spPr>
              <a:xfrm>
                <a:off x="1223686" y="2690585"/>
                <a:ext cx="2409825" cy="2418218"/>
              </a:xfrm>
              <a:prstGeom prst="donut">
                <a:avLst>
                  <a:gd name="adj" fmla="val 57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21A8A916-62CE-44C1-B229-3E779D4F27C2}"/>
                  </a:ext>
                </a:extLst>
              </p:cNvPr>
              <p:cNvGrpSpPr/>
              <p:nvPr/>
            </p:nvGrpSpPr>
            <p:grpSpPr>
              <a:xfrm rot="2818484">
                <a:off x="2172101" y="2833597"/>
                <a:ext cx="416277" cy="1661305"/>
                <a:chOff x="1245034" y="1108471"/>
                <a:chExt cx="821891" cy="3280058"/>
              </a:xfrm>
            </p:grpSpPr>
            <p:sp>
              <p:nvSpPr>
                <p:cNvPr id="84" name="Rectangle: Rounded Corners 83">
                  <a:extLst>
                    <a:ext uri="{FF2B5EF4-FFF2-40B4-BE49-F238E27FC236}">
                      <a16:creationId xmlns:a16="http://schemas.microsoft.com/office/drawing/2014/main" id="{C96E74FD-EA1F-4E3A-9314-68F601A130FA}"/>
                    </a:ext>
                  </a:extLst>
                </p:cNvPr>
                <p:cNvSpPr/>
                <p:nvPr/>
              </p:nvSpPr>
              <p:spPr>
                <a:xfrm>
                  <a:off x="1325997" y="1108471"/>
                  <a:ext cx="659965" cy="9167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                   </a:t>
                  </a:r>
                </a:p>
              </p:txBody>
            </p:sp>
            <p:sp>
              <p:nvSpPr>
                <p:cNvPr id="85" name="Rectangle 84">
                  <a:extLst>
                    <a:ext uri="{FF2B5EF4-FFF2-40B4-BE49-F238E27FC236}">
                      <a16:creationId xmlns:a16="http://schemas.microsoft.com/office/drawing/2014/main" id="{C232DB3E-0DC7-40D0-89BF-4907876A479C}"/>
                    </a:ext>
                  </a:extLst>
                </p:cNvPr>
                <p:cNvSpPr/>
                <p:nvPr/>
              </p:nvSpPr>
              <p:spPr>
                <a:xfrm>
                  <a:off x="1490987" y="1157471"/>
                  <a:ext cx="329984" cy="7556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Rectangle: Rounded Corners 85">
                  <a:extLst>
                    <a:ext uri="{FF2B5EF4-FFF2-40B4-BE49-F238E27FC236}">
                      <a16:creationId xmlns:a16="http://schemas.microsoft.com/office/drawing/2014/main" id="{6A83AFD7-45EF-4417-88BD-84E2C726A3DA}"/>
                    </a:ext>
                  </a:extLst>
                </p:cNvPr>
                <p:cNvSpPr/>
                <p:nvPr/>
              </p:nvSpPr>
              <p:spPr>
                <a:xfrm>
                  <a:off x="1245034" y="1913151"/>
                  <a:ext cx="821891" cy="7757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                   </a:t>
                  </a:r>
                </a:p>
              </p:txBody>
            </p:sp>
            <p:sp>
              <p:nvSpPr>
                <p:cNvPr id="87" name="Rectangle: Rounded Corners 86">
                  <a:extLst>
                    <a:ext uri="{FF2B5EF4-FFF2-40B4-BE49-F238E27FC236}">
                      <a16:creationId xmlns:a16="http://schemas.microsoft.com/office/drawing/2014/main" id="{20618BE8-F1E1-4DB8-A9BA-C7C3993820B7}"/>
                    </a:ext>
                  </a:extLst>
                </p:cNvPr>
                <p:cNvSpPr/>
                <p:nvPr/>
              </p:nvSpPr>
              <p:spPr>
                <a:xfrm>
                  <a:off x="1413092" y="1990725"/>
                  <a:ext cx="485775" cy="1400175"/>
                </a:xfrm>
                <a:prstGeom prst="roundRect">
                  <a:avLst>
                    <a:gd name="adj" fmla="val 490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486DFD18-59BE-489C-A13E-6BE71745B616}"/>
                    </a:ext>
                  </a:extLst>
                </p:cNvPr>
                <p:cNvSpPr/>
                <p:nvPr/>
              </p:nvSpPr>
              <p:spPr>
                <a:xfrm>
                  <a:off x="1589304" y="3390900"/>
                  <a:ext cx="133350" cy="1199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Rectangle 88">
                  <a:extLst>
                    <a:ext uri="{FF2B5EF4-FFF2-40B4-BE49-F238E27FC236}">
                      <a16:creationId xmlns:a16="http://schemas.microsoft.com/office/drawing/2014/main" id="{2E092BCD-3641-429E-AFD3-CD2BF2D8700F}"/>
                    </a:ext>
                  </a:extLst>
                </p:cNvPr>
                <p:cNvSpPr/>
                <p:nvPr/>
              </p:nvSpPr>
              <p:spPr>
                <a:xfrm>
                  <a:off x="1505089" y="3512449"/>
                  <a:ext cx="301781" cy="689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Isosceles Triangle 89">
                  <a:extLst>
                    <a:ext uri="{FF2B5EF4-FFF2-40B4-BE49-F238E27FC236}">
                      <a16:creationId xmlns:a16="http://schemas.microsoft.com/office/drawing/2014/main" id="{D921787C-BF4E-4456-9884-9148F9EF0546}"/>
                    </a:ext>
                  </a:extLst>
                </p:cNvPr>
                <p:cNvSpPr/>
                <p:nvPr/>
              </p:nvSpPr>
              <p:spPr>
                <a:xfrm rot="10800000">
                  <a:off x="1633120" y="3931329"/>
                  <a:ext cx="45719" cy="4572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Rectangle: Rounded Corners 90">
                  <a:extLst>
                    <a:ext uri="{FF2B5EF4-FFF2-40B4-BE49-F238E27FC236}">
                      <a16:creationId xmlns:a16="http://schemas.microsoft.com/office/drawing/2014/main" id="{8299E9CE-FD65-4B2C-AC6C-1A89CE32EF03}"/>
                    </a:ext>
                  </a:extLst>
                </p:cNvPr>
                <p:cNvSpPr/>
                <p:nvPr/>
              </p:nvSpPr>
              <p:spPr>
                <a:xfrm>
                  <a:off x="1589777" y="3589803"/>
                  <a:ext cx="132405" cy="341526"/>
                </a:xfrm>
                <a:prstGeom prst="roundRect">
                  <a:avLst>
                    <a:gd name="adj" fmla="val 511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grpSp>
    </p:spTree>
    <p:extLst>
      <p:ext uri="{BB962C8B-B14F-4D97-AF65-F5344CB8AC3E}">
        <p14:creationId xmlns:p14="http://schemas.microsoft.com/office/powerpoint/2010/main" val="17167872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51008">
  <a:themeElements>
    <a:clrScheme name="Custom 74">
      <a:dk1>
        <a:srgbClr val="1A1A1A"/>
      </a:dk1>
      <a:lt1>
        <a:srgbClr val="FFFFFF"/>
      </a:lt1>
      <a:dk2>
        <a:srgbClr val="0078D4"/>
      </a:dk2>
      <a:lt2>
        <a:srgbClr val="E6E6E6"/>
      </a:lt2>
      <a:accent1>
        <a:srgbClr val="0078D4"/>
      </a:accent1>
      <a:accent2>
        <a:srgbClr val="50E6FF"/>
      </a:accent2>
      <a:accent3>
        <a:srgbClr val="008575"/>
      </a:accent3>
      <a:accent4>
        <a:srgbClr val="243A5E"/>
      </a:accent4>
      <a:accent5>
        <a:srgbClr val="737373"/>
      </a:accent5>
      <a:accent6>
        <a:srgbClr val="E6E6E6"/>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LA_Template_2019_v04.potx" id="{B984ABF3-215C-40E6-800A-FCF9B8422FE6}" vid="{E7820623-21A0-46D3-94B7-E044C72E3C22}"/>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Finance Metro Template Light 16x9">
  <a:themeElements>
    <a:clrScheme name="Finance Brand">
      <a:dk1>
        <a:srgbClr val="000000"/>
      </a:dk1>
      <a:lt1>
        <a:srgbClr val="FFFFFF"/>
      </a:lt1>
      <a:dk2>
        <a:srgbClr val="7FBA00"/>
      </a:dk2>
      <a:lt2>
        <a:srgbClr val="00B294"/>
      </a:lt2>
      <a:accent1>
        <a:srgbClr val="FF8C00"/>
      </a:accent1>
      <a:accent2>
        <a:srgbClr val="E81123"/>
      </a:accent2>
      <a:accent3>
        <a:srgbClr val="68217A"/>
      </a:accent3>
      <a:accent4>
        <a:srgbClr val="00188F"/>
      </a:accent4>
      <a:accent5>
        <a:srgbClr val="0072C6"/>
      </a:accent5>
      <a:accent6>
        <a:srgbClr val="007233"/>
      </a:accent6>
      <a:hlink>
        <a:srgbClr val="0072C6"/>
      </a:hlink>
      <a:folHlink>
        <a:srgbClr val="0072C6"/>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3.xml><?xml version="1.0" encoding="utf-8"?>
<a:theme xmlns:a="http://schemas.openxmlformats.org/drawingml/2006/main" name="1_Azure 2015">
  <a:themeElements>
    <a:clrScheme name="Custom 46">
      <a:dk1>
        <a:srgbClr val="FFFFFF"/>
      </a:dk1>
      <a:lt1>
        <a:srgbClr val="FFFFFF"/>
      </a:lt1>
      <a:dk2>
        <a:srgbClr val="505050"/>
      </a:dk2>
      <a:lt2>
        <a:srgbClr val="00BCF2"/>
      </a:lt2>
      <a:accent1>
        <a:srgbClr val="0078D7"/>
      </a:accent1>
      <a:accent2>
        <a:srgbClr val="00188F"/>
      </a:accent2>
      <a:accent3>
        <a:srgbClr val="FFB900"/>
      </a:accent3>
      <a:accent4>
        <a:srgbClr val="00BCF2"/>
      </a:accent4>
      <a:accent5>
        <a:srgbClr val="0078D7"/>
      </a:accent5>
      <a:accent6>
        <a:srgbClr val="6A3F9A"/>
      </a:accent6>
      <a:hlink>
        <a:srgbClr val="0078D7"/>
      </a:hlink>
      <a:folHlink>
        <a:srgbClr val="FFB9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5.xml><?xml version="1.0" encoding="utf-8"?>
<a:theme xmlns:a="http://schemas.openxmlformats.org/drawingml/2006/main" name="TrustedCloud_White_Blue_Accent_16x9">
  <a:themeElements>
    <a:clrScheme name="Custom 38">
      <a:dk1>
        <a:srgbClr val="505050"/>
      </a:dk1>
      <a:lt1>
        <a:srgbClr val="FFFFFF"/>
      </a:lt1>
      <a:dk2>
        <a:srgbClr val="0072C6"/>
      </a:dk2>
      <a:lt2>
        <a:srgbClr val="00BCF2"/>
      </a:lt2>
      <a:accent1>
        <a:srgbClr val="002050"/>
      </a:accent1>
      <a:accent2>
        <a:srgbClr val="B4009E"/>
      </a:accent2>
      <a:accent3>
        <a:srgbClr val="0072C6"/>
      </a:accent3>
      <a:accent4>
        <a:srgbClr val="549901"/>
      </a:accent4>
      <a:accent5>
        <a:srgbClr val="7FBA00"/>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75000"/>
          </a:schemeClr>
        </a:solidFill>
      </a:spPr>
      <a:bodyPr wrap="square" rtlCol="0" anchor="ctr">
        <a:noAutofit/>
      </a:bodyPr>
      <a:lstStyle>
        <a:defPPr algn="l">
          <a:defRPr sz="2000" dirty="0">
            <a:solidFill>
              <a:srgbClr val="FFFFFF"/>
            </a:solidFill>
            <a:cs typeface="Segoe UI Light"/>
          </a:defRPr>
        </a:defPPr>
      </a:lst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2800" dirty="0" smtClean="0"/>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6.xml><?xml version="1.0" encoding="utf-8"?>
<a:theme xmlns:a="http://schemas.openxmlformats.org/drawingml/2006/main" name="Azure 2015">
  <a:themeElements>
    <a:clrScheme name="Custom 46">
      <a:dk1>
        <a:srgbClr val="FFFFFF"/>
      </a:dk1>
      <a:lt1>
        <a:srgbClr val="FFFFFF"/>
      </a:lt1>
      <a:dk2>
        <a:srgbClr val="505050"/>
      </a:dk2>
      <a:lt2>
        <a:srgbClr val="00BCF2"/>
      </a:lt2>
      <a:accent1>
        <a:srgbClr val="0078D7"/>
      </a:accent1>
      <a:accent2>
        <a:srgbClr val="00188F"/>
      </a:accent2>
      <a:accent3>
        <a:srgbClr val="FFB900"/>
      </a:accent3>
      <a:accent4>
        <a:srgbClr val="00BCF2"/>
      </a:accent4>
      <a:accent5>
        <a:srgbClr val="0078D7"/>
      </a:accent5>
      <a:accent6>
        <a:srgbClr val="6A3F9A"/>
      </a:accent6>
      <a:hlink>
        <a:srgbClr val="0078D7"/>
      </a:hlink>
      <a:folHlink>
        <a:srgbClr val="FFB9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usted Cloud_Template" id="{2EAE9CC4-445A-4E90-A5F9-39E2A7E64A8C}" vid="{51C26E78-4178-4274-B701-9634989A38E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Azure 2015">
  <a:themeElements>
    <a:clrScheme name="Custom 46">
      <a:dk1>
        <a:srgbClr val="FFFFFF"/>
      </a:dk1>
      <a:lt1>
        <a:srgbClr val="FFFFFF"/>
      </a:lt1>
      <a:dk2>
        <a:srgbClr val="505050"/>
      </a:dk2>
      <a:lt2>
        <a:srgbClr val="00BCF2"/>
      </a:lt2>
      <a:accent1>
        <a:srgbClr val="0078D7"/>
      </a:accent1>
      <a:accent2>
        <a:srgbClr val="00188F"/>
      </a:accent2>
      <a:accent3>
        <a:srgbClr val="FFB900"/>
      </a:accent3>
      <a:accent4>
        <a:srgbClr val="00BCF2"/>
      </a:accent4>
      <a:accent5>
        <a:srgbClr val="0078D7"/>
      </a:accent5>
      <a:accent6>
        <a:srgbClr val="6A3F9A"/>
      </a:accent6>
      <a:hlink>
        <a:srgbClr val="0078D7"/>
      </a:hlink>
      <a:folHlink>
        <a:srgbClr val="FFB9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2E6A2B2BE0B6C48B42703F61A9A64DE" ma:contentTypeVersion="14" ma:contentTypeDescription="Create a new document." ma:contentTypeScope="" ma:versionID="4424aa607a700c89465bfafdf0980e3c">
  <xsd:schema xmlns:xsd="http://www.w3.org/2001/XMLSchema" xmlns:xs="http://www.w3.org/2001/XMLSchema" xmlns:p="http://schemas.microsoft.com/office/2006/metadata/properties" xmlns:ns2="561d35a6-6213-4957-9d7f-79d350d0ab76" xmlns:ns3="888f4a89-5098-4c06-987a-8e4b2de3c200" xmlns:ns4="34805c28-67be-4a25-88f7-343f9d5a208c" targetNamespace="http://schemas.microsoft.com/office/2006/metadata/properties" ma:root="true" ma:fieldsID="e4ea298d39ac1b6fb93ba2630a03f722" ns2:_="" ns3:_="" ns4:_="">
    <xsd:import namespace="561d35a6-6213-4957-9d7f-79d350d0ab76"/>
    <xsd:import namespace="888f4a89-5098-4c06-987a-8e4b2de3c200"/>
    <xsd:import namespace="34805c28-67be-4a25-88f7-343f9d5a208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4:LastSharedByUser" minOccurs="0"/>
                <xsd:element ref="ns4:LastSharedByTime" minOccurs="0"/>
                <xsd:element ref="ns2:MediaServiceEventHashCode" minOccurs="0"/>
                <xsd:element ref="ns2:MediaServiceGenerationTime"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1d35a6-6213-4957-9d7f-79d350d0ab7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Tags" ma:index="19" nillable="true" ma:displayName="Tags" ma:internalName="MediaServiceAutoTags"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88f4a89-5098-4c06-987a-8e4b2de3c200"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805c28-67be-4a25-88f7-343f9d5a208c" elementFormDefault="qualified">
    <xsd:import namespace="http://schemas.microsoft.com/office/2006/documentManagement/types"/>
    <xsd:import namespace="http://schemas.microsoft.com/office/infopath/2007/PartnerControls"/>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561d35a6-6213-4957-9d7f-79d350d0ab76" xsi:nil="true"/>
  </documentManagement>
</p:properties>
</file>

<file path=customXml/itemProps1.xml><?xml version="1.0" encoding="utf-8"?>
<ds:datastoreItem xmlns:ds="http://schemas.openxmlformats.org/officeDocument/2006/customXml" ds:itemID="{EBD65BAD-EF57-461B-A9C0-F00E7FBBEA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1d35a6-6213-4957-9d7f-79d350d0ab76"/>
    <ds:schemaRef ds:uri="888f4a89-5098-4c06-987a-8e4b2de3c200"/>
    <ds:schemaRef ds:uri="34805c28-67be-4a25-88f7-343f9d5a20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561d35a6-6213-4957-9d7f-79d350d0ab76"/>
  </ds:schemaRefs>
</ds:datastoreItem>
</file>

<file path=docProps/app.xml><?xml version="1.0" encoding="utf-8"?>
<Properties xmlns="http://schemas.openxmlformats.org/officeDocument/2006/extended-properties" xmlns:vt="http://schemas.openxmlformats.org/officeDocument/2006/docPropsVTypes">
  <Template>CELA_Template_2019_v04</Template>
  <TotalTime>11337</TotalTime>
  <Words>2470</Words>
  <Application>Microsoft Office PowerPoint</Application>
  <PresentationFormat>Widescreen</PresentationFormat>
  <Paragraphs>260</Paragraphs>
  <Slides>17</Slides>
  <Notes>16</Notes>
  <HiddenSlides>0</HiddenSlides>
  <MMClips>0</MMClips>
  <ScaleCrop>false</ScaleCrop>
  <HeadingPairs>
    <vt:vector size="8" baseType="variant">
      <vt:variant>
        <vt:lpstr>Fonts Used</vt:lpstr>
      </vt:variant>
      <vt:variant>
        <vt:i4>15</vt:i4>
      </vt:variant>
      <vt:variant>
        <vt:lpstr>Theme</vt:lpstr>
      </vt:variant>
      <vt:variant>
        <vt:i4>11</vt:i4>
      </vt:variant>
      <vt:variant>
        <vt:lpstr>Embedded OLE Servers</vt:lpstr>
      </vt:variant>
      <vt:variant>
        <vt:i4>1</vt:i4>
      </vt:variant>
      <vt:variant>
        <vt:lpstr>Slide Titles</vt:lpstr>
      </vt:variant>
      <vt:variant>
        <vt:i4>17</vt:i4>
      </vt:variant>
    </vt:vector>
  </HeadingPairs>
  <TitlesOfParts>
    <vt:vector size="44" baseType="lpstr">
      <vt:lpstr>Arial</vt:lpstr>
      <vt:lpstr>Calibri</vt:lpstr>
      <vt:lpstr>Calibri Light</vt:lpstr>
      <vt:lpstr>Consolas</vt:lpstr>
      <vt:lpstr>Helvetica Neue</vt:lpstr>
      <vt:lpstr>Helvetica Neue Light</vt:lpstr>
      <vt:lpstr>MundoSansStd</vt:lpstr>
      <vt:lpstr>Segoe</vt:lpstr>
      <vt:lpstr>Segoe Light</vt:lpstr>
      <vt:lpstr>Segoe UI</vt:lpstr>
      <vt:lpstr>Segoe UI Light</vt:lpstr>
      <vt:lpstr>Segoe UI Semibold</vt:lpstr>
      <vt:lpstr>Segoe UI Semilight</vt:lpstr>
      <vt:lpstr>Times New Roman</vt:lpstr>
      <vt:lpstr>Wingdings</vt:lpstr>
      <vt:lpstr>#8-51008</vt:lpstr>
      <vt:lpstr>2_5-50113_Microsoft_Ready_Light_Template</vt:lpstr>
      <vt:lpstr>1_Azure 2015</vt:lpstr>
      <vt:lpstr>USETHIS_1_6-50001_WPC 2016 Keynote Template</vt:lpstr>
      <vt:lpstr>TrustedCloud_White_Blue_Accent_16x9</vt:lpstr>
      <vt:lpstr>Azure 2015</vt:lpstr>
      <vt:lpstr>Office Theme</vt:lpstr>
      <vt:lpstr>2_Azure 2015</vt:lpstr>
      <vt:lpstr>2_Office Theme</vt:lpstr>
      <vt:lpstr>1_Office Theme</vt:lpstr>
      <vt:lpstr>Finance Metro Template Light 16x9</vt:lpstr>
      <vt:lpstr>think-cell Slide</vt:lpstr>
      <vt:lpstr>PRIVATE SECURITY INDABA 2019  Cybersecurity:  Future in the Cloud.</vt:lpstr>
      <vt:lpstr>Data Creation is exploding</vt:lpstr>
      <vt:lpstr>Data as a ‘New Currency’ </vt:lpstr>
      <vt:lpstr>The “WHY” for Cloud:  Benefits of cloud computing for the public sector</vt:lpstr>
      <vt:lpstr>Cloud is becoming integral to government  transformation</vt:lpstr>
      <vt:lpstr>Economics of Single -Tenancy</vt:lpstr>
      <vt:lpstr>Economics of Multi-Tenancy</vt:lpstr>
      <vt:lpstr>PowerPoint Presentation</vt:lpstr>
      <vt:lpstr>Today’s threat actors pose unique challenges</vt:lpstr>
      <vt:lpstr>Global attacks are increasing and costs are rising</vt:lpstr>
      <vt:lpstr>Microsoft’s Security Offerings</vt:lpstr>
      <vt:lpstr>PowerPoint Presentation</vt:lpstr>
      <vt:lpstr>A cloud you can trust</vt:lpstr>
      <vt:lpstr>Trusted Cloud Principles</vt:lpstr>
      <vt:lpstr>Microsoft Principles for Government Requests</vt:lpstr>
      <vt:lpstr>South African Government Mission Is To Achieve:</vt:lpstr>
      <vt:lpstr>PowerPoint Presentation</vt:lpstr>
    </vt:vector>
  </TitlesOfParts>
  <Manager>&lt;Comms manager name here&gt;</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nt name or presentation title</dc:title>
  <dc:subject>CELA Template</dc:subject>
  <dc:creator>Sanjay Batra (CELA)</dc:creator>
  <cp:keywords/>
  <dc:description/>
  <cp:lastModifiedBy>Siya Madyibi (CELA)</cp:lastModifiedBy>
  <cp:revision>34</cp:revision>
  <dcterms:created xsi:type="dcterms:W3CDTF">2019-04-05T19:04:34Z</dcterms:created>
  <dcterms:modified xsi:type="dcterms:W3CDTF">2019-07-03T21:2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E6A2B2BE0B6C48B42703F61A9A64D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